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5" r:id="rId1"/>
  </p:sldMasterIdLst>
  <p:notesMasterIdLst>
    <p:notesMasterId r:id="rId22"/>
  </p:notesMasterIdLst>
  <p:handoutMasterIdLst>
    <p:handoutMasterId r:id="rId23"/>
  </p:handoutMasterIdLst>
  <p:sldIdLst>
    <p:sldId id="256" r:id="rId2"/>
    <p:sldId id="264" r:id="rId3"/>
    <p:sldId id="263" r:id="rId4"/>
    <p:sldId id="268" r:id="rId5"/>
    <p:sldId id="266" r:id="rId6"/>
    <p:sldId id="274" r:id="rId7"/>
    <p:sldId id="269" r:id="rId8"/>
    <p:sldId id="272" r:id="rId9"/>
    <p:sldId id="273" r:id="rId10"/>
    <p:sldId id="275" r:id="rId11"/>
    <p:sldId id="281" r:id="rId12"/>
    <p:sldId id="284" r:id="rId13"/>
    <p:sldId id="286" r:id="rId14"/>
    <p:sldId id="282" r:id="rId15"/>
    <p:sldId id="277" r:id="rId16"/>
    <p:sldId id="276" r:id="rId17"/>
    <p:sldId id="278" r:id="rId18"/>
    <p:sldId id="279" r:id="rId19"/>
    <p:sldId id="261" r:id="rId20"/>
    <p:sldId id="262" r:id="rId21"/>
  </p:sldIdLst>
  <p:sldSz cx="9144000" cy="6858000" type="screen4x3"/>
  <p:notesSz cx="6797675" cy="99822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99">
          <p15:clr>
            <a:srgbClr val="A4A3A4"/>
          </p15:clr>
        </p15:guide>
        <p15:guide id="2" orient="horz" pos="3974">
          <p15:clr>
            <a:srgbClr val="A4A3A4"/>
          </p15:clr>
        </p15:guide>
        <p15:guide id="3" pos="158">
          <p15:clr>
            <a:srgbClr val="A4A3A4"/>
          </p15:clr>
        </p15:guide>
        <p15:guide id="4" pos="4241">
          <p15:clr>
            <a:srgbClr val="A4A3A4"/>
          </p15:clr>
        </p15:guide>
        <p15:guide id="5" pos="4468">
          <p15:clr>
            <a:srgbClr val="A4A3A4"/>
          </p15:clr>
        </p15:guide>
        <p15:guide id="6" pos="560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93">
          <p15:clr>
            <a:srgbClr val="A4A3A4"/>
          </p15:clr>
        </p15:guide>
        <p15:guide id="2" pos="343">
          <p15:clr>
            <a:srgbClr val="A4A3A4"/>
          </p15:clr>
        </p15:guide>
        <p15:guide id="3" pos="393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7D95DDBC-5C31-40A9-B56D-BDF15E579DC0}">
  <a:tblStyle styleId="{7D95DDBC-5C31-40A9-B56D-BDF15E579DC0}" styleName="BERENBERG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 cmpd="sng">
              <a:solidFill>
                <a:schemeClr val="accent6"/>
              </a:solidFill>
              <a:prstDash val="dash"/>
            </a:ln>
          </a:top>
          <a:bottom>
            <a:ln w="6350" cmpd="sng">
              <a:solidFill>
                <a:schemeClr val="accent6"/>
              </a:solidFill>
              <a:prstDash val="dash"/>
            </a:ln>
          </a:bottom>
          <a:insideH>
            <a:ln w="6350" cmpd="sng">
              <a:solidFill>
                <a:schemeClr val="accent6"/>
              </a:solidFill>
              <a:prstDash val="dash"/>
            </a:ln>
          </a:insideH>
          <a:insideV>
            <a:ln>
              <a:noFill/>
            </a:ln>
          </a:insideV>
        </a:tcBdr>
        <a:fill>
          <a:noFill/>
        </a:fill>
      </a:tcStyle>
    </a:wholeTbl>
    <a:lastCol>
      <a:tcTxStyle>
        <a:fontRef idx="minor">
          <a:prstClr val="black"/>
        </a:fontRef>
        <a:schemeClr val="dk1"/>
      </a:tcTxStyle>
      <a:tcStyle>
        <a:tcBdr/>
        <a:fill>
          <a:solidFill>
            <a:srgbClr val="EDECEB"/>
          </a:solidFill>
        </a:fill>
      </a:tcStyle>
    </a:lastCol>
    <a:firstCol>
      <a:tcTxStyle>
        <a:fontRef idx="minor">
          <a:prstClr val="black"/>
        </a:fontRef>
        <a:schemeClr val="dk1"/>
      </a:tcTxStyle>
      <a:tcStyle>
        <a:tcBdr/>
        <a:fill>
          <a:solidFill>
            <a:srgbClr val="EDECEB"/>
          </a:solidFill>
        </a:fill>
      </a:tcStyle>
    </a:firstCol>
    <a:lastRow>
      <a:tcTxStyle b="on">
        <a:fontRef idx="minor">
          <a:prstClr val="black"/>
        </a:fontRef>
        <a:schemeClr val="dk2"/>
      </a:tcTxStyle>
      <a:tcStyle>
        <a:tcBdr>
          <a:top>
            <a:ln w="6350" cmpd="sng">
              <a:solidFill>
                <a:schemeClr val="dk2"/>
              </a:solidFill>
            </a:ln>
          </a:top>
          <a:bottom>
            <a:ln w="6350" cmpd="sng">
              <a:solidFill>
                <a:schemeClr val="dk2"/>
              </a:solidFill>
            </a:ln>
          </a:bottom>
        </a:tcBdr>
      </a:tcStyle>
    </a:lastRow>
    <a:firstRow>
      <a:tcTxStyle>
        <a:fontRef idx="minor">
          <a:prstClr val="white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4" autoAdjust="0"/>
    <p:restoredTop sz="94660"/>
  </p:normalViewPr>
  <p:slideViewPr>
    <p:cSldViewPr showGuides="1">
      <p:cViewPr varScale="1">
        <p:scale>
          <a:sx n="115" d="100"/>
          <a:sy n="115" d="100"/>
        </p:scale>
        <p:origin x="1530" y="108"/>
      </p:cViewPr>
      <p:guideLst>
        <p:guide orient="horz" pos="799"/>
        <p:guide orient="horz" pos="3974"/>
        <p:guide pos="158"/>
        <p:guide pos="4241"/>
        <p:guide pos="4468"/>
        <p:guide pos="5602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-3336" y="-306"/>
      </p:cViewPr>
      <p:guideLst>
        <p:guide orient="horz" pos="3193"/>
        <p:guide pos="343"/>
        <p:guide pos="393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-Arbeitsblat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de-DE"/>
              <a:t>Kosten pro Tag</a:t>
            </a:r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alte Lösung</c:v>
                </c:pt>
              </c:strCache>
            </c:strRef>
          </c:tx>
          <c:spPr>
            <a:ln>
              <a:solidFill>
                <a:schemeClr val="tx2">
                  <a:lumMod val="50000"/>
                </a:schemeClr>
              </a:solidFill>
            </a:ln>
          </c:spPr>
          <c:marker>
            <c:symbol val="none"/>
          </c:marker>
          <c:cat>
            <c:numRef>
              <c:f>Tabelle1!$A$2:$A$7</c:f>
              <c:numCache>
                <c:formatCode>General</c:formatCode>
                <c:ptCount val="6"/>
                <c:pt idx="0">
                  <c:v>0</c:v>
                </c:pt>
                <c:pt idx="1">
                  <c:v>300</c:v>
                </c:pt>
                <c:pt idx="2">
                  <c:v>600</c:v>
                </c:pt>
                <c:pt idx="3">
                  <c:v>900</c:v>
                </c:pt>
                <c:pt idx="4">
                  <c:v>1200</c:v>
                </c:pt>
                <c:pt idx="5">
                  <c:v>1500</c:v>
                </c:pt>
              </c:numCache>
            </c:num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0</c:v>
                </c:pt>
                <c:pt idx="1">
                  <c:v>475</c:v>
                </c:pt>
                <c:pt idx="2">
                  <c:v>950</c:v>
                </c:pt>
                <c:pt idx="3">
                  <c:v>1425</c:v>
                </c:pt>
                <c:pt idx="4">
                  <c:v>1900</c:v>
                </c:pt>
                <c:pt idx="5">
                  <c:v>23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116-4DB0-8310-B91F139BE216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neue Lösung</c:v>
                </c:pt>
              </c:strCache>
            </c:strRef>
          </c:tx>
          <c:spPr>
            <a:ln>
              <a:solidFill>
                <a:schemeClr val="tx2"/>
              </a:solidFill>
            </a:ln>
          </c:spPr>
          <c:marker>
            <c:symbol val="none"/>
          </c:marker>
          <c:cat>
            <c:numRef>
              <c:f>Tabelle1!$A$2:$A$7</c:f>
              <c:numCache>
                <c:formatCode>General</c:formatCode>
                <c:ptCount val="6"/>
                <c:pt idx="0">
                  <c:v>0</c:v>
                </c:pt>
                <c:pt idx="1">
                  <c:v>300</c:v>
                </c:pt>
                <c:pt idx="2">
                  <c:v>600</c:v>
                </c:pt>
                <c:pt idx="3">
                  <c:v>900</c:v>
                </c:pt>
                <c:pt idx="4">
                  <c:v>1200</c:v>
                </c:pt>
                <c:pt idx="5">
                  <c:v>1500</c:v>
                </c:pt>
              </c:numCache>
            </c:numRef>
          </c:cat>
          <c:val>
            <c:numRef>
              <c:f>Tabelle1!$C$2:$C$7</c:f>
              <c:numCache>
                <c:formatCode>General</c:formatCode>
                <c:ptCount val="6"/>
                <c:pt idx="0">
                  <c:v>1506</c:v>
                </c:pt>
                <c:pt idx="1">
                  <c:v>1601</c:v>
                </c:pt>
                <c:pt idx="2">
                  <c:v>1696</c:v>
                </c:pt>
                <c:pt idx="3">
                  <c:v>1791</c:v>
                </c:pt>
                <c:pt idx="4">
                  <c:v>1886</c:v>
                </c:pt>
                <c:pt idx="5">
                  <c:v>19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116-4DB0-8310-B91F139BE2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5441152"/>
        <c:axId val="65467904"/>
      </c:lineChart>
      <c:catAx>
        <c:axId val="65441152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de-DE"/>
                  <a:t>Anzahl Mitarbeiter</a:t>
                </a:r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65467904"/>
        <c:crosses val="autoZero"/>
        <c:auto val="1"/>
        <c:lblAlgn val="ctr"/>
        <c:lblOffset val="100"/>
        <c:noMultiLvlLbl val="0"/>
      </c:catAx>
      <c:valAx>
        <c:axId val="65467904"/>
        <c:scaling>
          <c:orientation val="minMax"/>
        </c:scaling>
        <c:delete val="0"/>
        <c:axPos val="l"/>
        <c:majorGridlines/>
        <c:numFmt formatCode="#,##0.00\ &quot;€&quot;" sourceLinked="0"/>
        <c:majorTickMark val="out"/>
        <c:minorTickMark val="none"/>
        <c:tickLblPos val="nextTo"/>
        <c:crossAx val="65441152"/>
        <c:crosses val="autoZero"/>
        <c:crossBetween val="between"/>
      </c:valAx>
      <c:dTable>
        <c:showHorzBorder val="1"/>
        <c:showVertBorder val="1"/>
        <c:showOutline val="1"/>
        <c:showKeys val="1"/>
      </c:dTable>
    </c:plotArea>
    <c:legend>
      <c:legendPos val="r"/>
      <c:layout/>
      <c:overlay val="0"/>
    </c:legend>
    <c:plotVisOnly val="1"/>
    <c:dispBlanksAs val="gap"/>
    <c:showDLblsOverMax val="0"/>
  </c:chart>
  <c:externalData r:id="rId1">
    <c:autoUpdate val="0"/>
  </c:externalData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1572</cdr:x>
      <cdr:y>0.71429</cdr:y>
    </cdr:from>
    <cdr:to>
      <cdr:x>0.68239</cdr:x>
      <cdr:y>1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2829464" y="2976114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de-DE" sz="110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1"/>
          </p:nvPr>
        </p:nvSpPr>
        <p:spPr bwMode="gray">
          <a:xfrm>
            <a:off x="900727" y="9550407"/>
            <a:ext cx="713746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C6CA75DE-53F2-4E32-A428-21861BFC6312}" type="datetimeFigureOut">
              <a:rPr lang="de-DE" smtClean="0"/>
              <a:pPr/>
              <a:t>02.01.2018</a:t>
            </a:fld>
            <a:endParaRPr lang="de-DE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2"/>
          </p:nvPr>
        </p:nvSpPr>
        <p:spPr bwMode="gray">
          <a:xfrm>
            <a:off x="1614472" y="9550408"/>
            <a:ext cx="4638759" cy="2358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3"/>
          </p:nvPr>
        </p:nvSpPr>
        <p:spPr bwMode="gray">
          <a:xfrm>
            <a:off x="543854" y="9550407"/>
            <a:ext cx="356873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BBB7A6D9-B692-4CF8-B6FB-4109F6119714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221448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gray">
          <a:xfrm>
            <a:off x="315913" y="982663"/>
            <a:ext cx="4989512" cy="37433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544443" y="5069086"/>
            <a:ext cx="5708789" cy="41644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"/>
          </p:nvPr>
        </p:nvSpPr>
        <p:spPr bwMode="gray">
          <a:xfrm>
            <a:off x="900727" y="9550407"/>
            <a:ext cx="713746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C6CA75DE-53F2-4E32-A428-21861BFC6312}" type="datetimeFigureOut">
              <a:rPr lang="de-DE" smtClean="0"/>
              <a:pPr/>
              <a:t>02.01.2018</a:t>
            </a:fld>
            <a:endParaRPr lang="de-DE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4"/>
          </p:nvPr>
        </p:nvSpPr>
        <p:spPr bwMode="gray">
          <a:xfrm>
            <a:off x="1614472" y="9550408"/>
            <a:ext cx="4638759" cy="2358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5"/>
          </p:nvPr>
        </p:nvSpPr>
        <p:spPr bwMode="gray">
          <a:xfrm>
            <a:off x="543854" y="9550407"/>
            <a:ext cx="356873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BBB7A6D9-B692-4CF8-B6FB-4109F6119714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026496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fontAlgn="base">
      <a:lnSpc>
        <a:spcPct val="110000"/>
      </a:lnSpc>
      <a:spcBef>
        <a:spcPts val="300"/>
      </a:spcBef>
      <a:spcAft>
        <a:spcPts val="30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180000" indent="-180000" algn="l" rtl="0" fontAlgn="base">
      <a:lnSpc>
        <a:spcPct val="110000"/>
      </a:lnSpc>
      <a:spcBef>
        <a:spcPts val="300"/>
      </a:spcBef>
      <a:spcAft>
        <a:spcPts val="300"/>
      </a:spcAft>
      <a:buFont typeface="Arial" pitchFamily="34" charset="0"/>
      <a:buChar char="•"/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360000" indent="-180000" algn="l" rtl="0" fontAlgn="base">
      <a:lnSpc>
        <a:spcPct val="110000"/>
      </a:lnSpc>
      <a:spcBef>
        <a:spcPts val="300"/>
      </a:spcBef>
      <a:spcAft>
        <a:spcPts val="300"/>
      </a:spcAft>
      <a:buFont typeface="Arial" pitchFamily="34" charset="0"/>
      <a:buChar char="•"/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539750" indent="-180000" algn="l" rtl="0" fontAlgn="base">
      <a:lnSpc>
        <a:spcPct val="110000"/>
      </a:lnSpc>
      <a:spcBef>
        <a:spcPts val="300"/>
      </a:spcBef>
      <a:spcAft>
        <a:spcPts val="300"/>
      </a:spcAft>
      <a:buFont typeface="Arial" pitchFamily="34" charset="0"/>
      <a:buChar char="•"/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720000" indent="-180000" algn="l" rtl="0" fontAlgn="base">
      <a:lnSpc>
        <a:spcPct val="110000"/>
      </a:lnSpc>
      <a:spcBef>
        <a:spcPts val="300"/>
      </a:spcBef>
      <a:spcAft>
        <a:spcPts val="300"/>
      </a:spcAft>
      <a:buFont typeface="Arial" pitchFamily="34" charset="0"/>
      <a:buChar char="•"/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720000" indent="-180000" algn="l" defTabSz="914400" rtl="0" eaLnBrk="1" latinLnBrk="0" hangingPunct="1">
      <a:lnSpc>
        <a:spcPct val="110000"/>
      </a:lnSpc>
      <a:spcBef>
        <a:spcPts val="300"/>
      </a:spcBef>
      <a:spcAft>
        <a:spcPts val="300"/>
      </a:spcAft>
      <a:buFont typeface="Arial" pitchFamily="34" charset="0"/>
      <a:buChar char="•"/>
      <a:defRPr sz="1200" kern="1200" baseline="0">
        <a:solidFill>
          <a:schemeClr val="tx1"/>
        </a:solidFill>
        <a:latin typeface="+mn-lt"/>
        <a:ea typeface="+mn-ea"/>
        <a:cs typeface="+mn-cs"/>
      </a:defRPr>
    </a:lvl6pPr>
    <a:lvl7pPr marL="720000" indent="-180000" algn="l" defTabSz="914400" rtl="0" eaLnBrk="1" latinLnBrk="0" hangingPunct="1">
      <a:lnSpc>
        <a:spcPct val="110000"/>
      </a:lnSpc>
      <a:spcBef>
        <a:spcPts val="300"/>
      </a:spcBef>
      <a:spcAft>
        <a:spcPts val="300"/>
      </a:spcAft>
      <a:buFont typeface="Arial" pitchFamily="34" charset="0"/>
      <a:buChar char="•"/>
      <a:defRPr sz="1200" kern="1200" baseline="0">
        <a:solidFill>
          <a:schemeClr val="tx1"/>
        </a:solidFill>
        <a:latin typeface="+mn-lt"/>
        <a:ea typeface="+mn-ea"/>
        <a:cs typeface="+mn-cs"/>
      </a:defRPr>
    </a:lvl7pPr>
    <a:lvl8pPr marL="720000" indent="-180000" algn="l" defTabSz="914400" rtl="0" eaLnBrk="1" latinLnBrk="0" hangingPunct="1">
      <a:lnSpc>
        <a:spcPct val="110000"/>
      </a:lnSpc>
      <a:spcBef>
        <a:spcPts val="300"/>
      </a:spcBef>
      <a:spcAft>
        <a:spcPts val="300"/>
      </a:spcAft>
      <a:buFont typeface="Arial" pitchFamily="34" charset="0"/>
      <a:buChar char="•"/>
      <a:defRPr sz="1200" kern="1200" baseline="0">
        <a:solidFill>
          <a:schemeClr val="tx1"/>
        </a:solidFill>
        <a:latin typeface="+mn-lt"/>
        <a:ea typeface="+mn-ea"/>
        <a:cs typeface="+mn-cs"/>
      </a:defRPr>
    </a:lvl8pPr>
    <a:lvl9pPr marL="720000" indent="-180000" algn="l" defTabSz="914400" rtl="0" eaLnBrk="1" latinLnBrk="0" hangingPunct="1">
      <a:lnSpc>
        <a:spcPct val="110000"/>
      </a:lnSpc>
      <a:spcBef>
        <a:spcPts val="300"/>
      </a:spcBef>
      <a:spcAft>
        <a:spcPts val="300"/>
      </a:spcAft>
      <a:buFont typeface="Arial" pitchFamily="34" charset="0"/>
      <a:buChar char="•"/>
      <a:defRPr sz="1200" kern="1200" baseline="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75" y="749300"/>
            <a:ext cx="4991100" cy="3743325"/>
          </a:xfrm>
          <a:ln/>
        </p:spPr>
      </p:sp>
      <p:sp>
        <p:nvSpPr>
          <p:cNvPr id="5530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74888" y="4743279"/>
            <a:ext cx="5047903" cy="4490256"/>
          </a:xfrm>
          <a:noFill/>
        </p:spPr>
        <p:txBody>
          <a:bodyPr lIns="92045" tIns="46029" rIns="92045" bIns="46029"/>
          <a:lstStyle/>
          <a:p>
            <a:pPr eaLnBrk="1" hangingPunct="1"/>
            <a:endParaRPr lang="de-DE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24565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&#10;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250825" y="2781300"/>
            <a:ext cx="6481763" cy="1223963"/>
          </a:xfrm>
        </p:spPr>
        <p:txBody>
          <a:bodyPr anchor="ctr"/>
          <a:lstStyle>
            <a:lvl1pPr algn="l">
              <a:defRPr sz="3000" b="0" baseline="0"/>
            </a:lvl1pPr>
          </a:lstStyle>
          <a:p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250825" y="4365624"/>
            <a:ext cx="6481763" cy="1943101"/>
          </a:xfr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336"/>
              </a:spcAft>
              <a:buNone/>
              <a:defRPr lang="de-DE" sz="1100" smtClean="0">
                <a:effectLst/>
              </a:defRPr>
            </a:lvl1pPr>
            <a:lvl2pPr marL="0" indent="0" algn="l">
              <a:spcBef>
                <a:spcPts val="1900"/>
              </a:spcBef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2238085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&#10;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2.01.2018</a:t>
            </a:fld>
            <a:endParaRPr lang="de-DE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25047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 flipH="1">
            <a:off x="673119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flipH="1">
            <a:off x="88924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flipH="1">
            <a:off x="25152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673224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88935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70922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70933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rot="16200000" flipH="1">
            <a:off x="-73041" y="123223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rot="16200000" flipH="1">
            <a:off x="-73041" y="627279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rot="16200000" flipH="1">
            <a:off x="9215998" y="123328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rot="16200000" flipH="1">
            <a:off x="9215998" y="627384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6552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Kontakt&#10;1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7092950" y="4653136"/>
            <a:ext cx="1800225" cy="1655588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platzhalter</a:t>
            </a:r>
            <a:endParaRPr lang="de-DE" dirty="0"/>
          </a:p>
        </p:txBody>
      </p:sp>
      <p:sp>
        <p:nvSpPr>
          <p:cNvPr id="7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9750" y="3068959"/>
            <a:ext cx="4103688" cy="3239765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542925" algn="l"/>
              </a:tabLst>
              <a:defRPr sz="1200" b="1" baseline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 b="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1"/>
            <a:r>
              <a:rPr lang="de-DE" dirty="0" smtClean="0"/>
              <a:t>Firmenname</a:t>
            </a:r>
          </a:p>
          <a:p>
            <a:pPr lvl="2"/>
            <a:r>
              <a:rPr lang="de-DE" dirty="0" smtClean="0"/>
              <a:t>Ggf. Zusatz</a:t>
            </a:r>
          </a:p>
          <a:p>
            <a:pPr lvl="2"/>
            <a:r>
              <a:rPr lang="de-DE" dirty="0" smtClean="0"/>
              <a:t>Anschrift</a:t>
            </a:r>
          </a:p>
          <a:p>
            <a:pPr lvl="2"/>
            <a:r>
              <a:rPr lang="de-DE" dirty="0" smtClean="0"/>
              <a:t>PLZ Ort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smtClean="0"/>
              <a:t>vorname.nachname@berenberg.de</a:t>
            </a:r>
          </a:p>
        </p:txBody>
      </p:sp>
      <p:cxnSp>
        <p:nvCxnSpPr>
          <p:cNvPr id="8" name="Gerade Verbindung 7"/>
          <p:cNvCxnSpPr/>
          <p:nvPr/>
        </p:nvCxnSpPr>
        <p:spPr bwMode="gray">
          <a:xfrm>
            <a:off x="539750" y="2786328"/>
            <a:ext cx="4103688" cy="0"/>
          </a:xfrm>
          <a:prstGeom prst="line">
            <a:avLst/>
          </a:prstGeom>
          <a:ln w="952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atumsplatzhalter 13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2.01.2018</a:t>
            </a:fld>
            <a:endParaRPr lang="de-DE" noProof="0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2" name="Rechteck 11"/>
          <p:cNvSpPr/>
          <p:nvPr userDrawn="1"/>
        </p:nvSpPr>
        <p:spPr bwMode="gray">
          <a:xfrm>
            <a:off x="539750" y="2060848"/>
            <a:ext cx="4103688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 defTabSz="914400" eaLnBrk="1" latinLnBrk="0" hangingPunct="1">
              <a:buNone/>
            </a:pPr>
            <a:r>
              <a:rPr lang="de-DE" sz="1600" b="1" cap="none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Ihr Ansprechpartner</a:t>
            </a:r>
          </a:p>
        </p:txBody>
      </p:sp>
    </p:spTree>
    <p:extLst>
      <p:ext uri="{BB962C8B-B14F-4D97-AF65-F5344CB8AC3E}">
        <p14:creationId xmlns:p14="http://schemas.microsoft.com/office/powerpoint/2010/main" val="139631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Kontakte&#10;2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7092950" y="4653136"/>
            <a:ext cx="1800225" cy="1655588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platzhalter</a:t>
            </a:r>
            <a:endParaRPr lang="de-DE" dirty="0"/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9750" y="3068959"/>
            <a:ext cx="3024188" cy="3239765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1"/>
            <a:r>
              <a:rPr lang="de-DE" dirty="0" smtClean="0"/>
              <a:t>Firmenname</a:t>
            </a:r>
          </a:p>
          <a:p>
            <a:pPr lvl="2"/>
            <a:r>
              <a:rPr lang="de-DE" dirty="0" smtClean="0"/>
              <a:t>Ggf. Zusatz</a:t>
            </a:r>
          </a:p>
          <a:p>
            <a:pPr lvl="2"/>
            <a:r>
              <a:rPr lang="de-DE" dirty="0" smtClean="0"/>
              <a:t>Anschrift</a:t>
            </a:r>
          </a:p>
          <a:p>
            <a:pPr lvl="2"/>
            <a:r>
              <a:rPr lang="de-DE" dirty="0" smtClean="0"/>
              <a:t>PLZ Ort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smtClean="0"/>
              <a:t>vorname.nachname@berenberg.de</a:t>
            </a:r>
          </a:p>
        </p:txBody>
      </p:sp>
      <p:sp>
        <p:nvSpPr>
          <p:cNvPr id="14" name="Textplatzhalter 1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07905" y="3068959"/>
            <a:ext cx="3024684" cy="3239765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1"/>
            <a:r>
              <a:rPr lang="de-DE" dirty="0" smtClean="0"/>
              <a:t>Firmenname</a:t>
            </a:r>
          </a:p>
          <a:p>
            <a:pPr lvl="2"/>
            <a:r>
              <a:rPr lang="de-DE" dirty="0" smtClean="0"/>
              <a:t>Ggf. Zusatz</a:t>
            </a:r>
          </a:p>
          <a:p>
            <a:pPr lvl="2"/>
            <a:r>
              <a:rPr lang="de-DE" dirty="0" smtClean="0"/>
              <a:t>Anschrift</a:t>
            </a:r>
          </a:p>
          <a:p>
            <a:pPr lvl="2"/>
            <a:r>
              <a:rPr lang="de-DE" dirty="0" smtClean="0"/>
              <a:t>PLZ Ort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smtClean="0"/>
              <a:t>vorname.nachname@berenberg.de</a:t>
            </a:r>
          </a:p>
        </p:txBody>
      </p:sp>
      <p:cxnSp>
        <p:nvCxnSpPr>
          <p:cNvPr id="15" name="Gerade Verbindung 14"/>
          <p:cNvCxnSpPr/>
          <p:nvPr/>
        </p:nvCxnSpPr>
        <p:spPr bwMode="gray">
          <a:xfrm>
            <a:off x="539750" y="2786328"/>
            <a:ext cx="6192838" cy="0"/>
          </a:xfrm>
          <a:prstGeom prst="line">
            <a:avLst/>
          </a:prstGeom>
          <a:ln w="952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umsplatzhalter 4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2.01.2018</a:t>
            </a:fld>
            <a:endParaRPr lang="de-DE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7" name="Rechteck 16"/>
          <p:cNvSpPr/>
          <p:nvPr userDrawn="1"/>
        </p:nvSpPr>
        <p:spPr bwMode="gray">
          <a:xfrm>
            <a:off x="539750" y="2060848"/>
            <a:ext cx="6192838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 defTabSz="914400" eaLnBrk="1" latinLnBrk="0" hangingPunct="1">
              <a:buNone/>
            </a:pPr>
            <a:r>
              <a:rPr lang="de-DE" sz="1600" b="1" cap="none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Ihre Ansprechpartner</a:t>
            </a:r>
          </a:p>
        </p:txBody>
      </p:sp>
    </p:spTree>
    <p:extLst>
      <p:ext uri="{BB962C8B-B14F-4D97-AF65-F5344CB8AC3E}">
        <p14:creationId xmlns:p14="http://schemas.microsoft.com/office/powerpoint/2010/main" val="1415373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Kontakte&#10;4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7092950" y="4653136"/>
            <a:ext cx="1800225" cy="1655588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platzhalter</a:t>
            </a:r>
            <a:endParaRPr lang="de-DE" dirty="0"/>
          </a:p>
        </p:txBody>
      </p:sp>
      <p:sp>
        <p:nvSpPr>
          <p:cNvPr id="18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9750" y="3068960"/>
            <a:ext cx="3024188" cy="144016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smtClean="0"/>
              <a:t>vorname.nachname@berenberg.de</a:t>
            </a:r>
          </a:p>
        </p:txBody>
      </p:sp>
      <p:sp>
        <p:nvSpPr>
          <p:cNvPr id="19" name="Textplatzhalter 1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07905" y="3068960"/>
            <a:ext cx="3024684" cy="144016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smtClean="0"/>
              <a:t>vorname.nachname@berenberg.de</a:t>
            </a:r>
          </a:p>
        </p:txBody>
      </p:sp>
      <p:sp>
        <p:nvSpPr>
          <p:cNvPr id="20" name="Textplatzhalter 10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39750" y="4637707"/>
            <a:ext cx="3024188" cy="167101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smtClean="0"/>
              <a:t>vorname.nachname@berenberg.de</a:t>
            </a:r>
          </a:p>
        </p:txBody>
      </p:sp>
      <p:sp>
        <p:nvSpPr>
          <p:cNvPr id="21" name="Textplatzhalter 10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707905" y="4637707"/>
            <a:ext cx="3024684" cy="167101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smtClean="0"/>
              <a:t>vorname.nachname@berenberg.de</a:t>
            </a:r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092950" y="3068960"/>
            <a:ext cx="1815821" cy="144016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Firmenname</a:t>
            </a:r>
          </a:p>
          <a:p>
            <a:pPr lvl="1"/>
            <a:r>
              <a:rPr lang="de-DE" dirty="0" smtClean="0"/>
              <a:t>Ggf. Zusatz</a:t>
            </a:r>
          </a:p>
          <a:p>
            <a:pPr lvl="1"/>
            <a:r>
              <a:rPr lang="de-DE" dirty="0" smtClean="0"/>
              <a:t>Anschrift</a:t>
            </a:r>
          </a:p>
          <a:p>
            <a:pPr lvl="1"/>
            <a:r>
              <a:rPr lang="de-DE" dirty="0" smtClean="0"/>
              <a:t>PLZ Ort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</p:txBody>
      </p:sp>
      <p:cxnSp>
        <p:nvCxnSpPr>
          <p:cNvPr id="23" name="Gerade Verbindung 22"/>
          <p:cNvCxnSpPr/>
          <p:nvPr/>
        </p:nvCxnSpPr>
        <p:spPr bwMode="gray">
          <a:xfrm>
            <a:off x="539750" y="2786328"/>
            <a:ext cx="6192838" cy="0"/>
          </a:xfrm>
          <a:prstGeom prst="line">
            <a:avLst/>
          </a:prstGeom>
          <a:ln w="952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umsplatzhalter 4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2.01.2018</a:t>
            </a:fld>
            <a:endParaRPr lang="de-DE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24" name="Rechteck 23"/>
          <p:cNvSpPr/>
          <p:nvPr userDrawn="1"/>
        </p:nvSpPr>
        <p:spPr bwMode="gray">
          <a:xfrm>
            <a:off x="539750" y="2060848"/>
            <a:ext cx="6192838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 defTabSz="914400" eaLnBrk="1" latinLnBrk="0" hangingPunct="1">
              <a:buNone/>
            </a:pPr>
            <a:r>
              <a:rPr lang="de-DE" sz="1600" b="1" cap="none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Ihre Ansprechpartner</a:t>
            </a:r>
          </a:p>
        </p:txBody>
      </p:sp>
    </p:spTree>
    <p:extLst>
      <p:ext uri="{BB962C8B-B14F-4D97-AF65-F5344CB8AC3E}">
        <p14:creationId xmlns:p14="http://schemas.microsoft.com/office/powerpoint/2010/main" val="1462092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Kontakt Bild&#10;1 Contac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Bildplatzhalt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7092950" y="4653136"/>
            <a:ext cx="1800225" cy="1655588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platzhalter</a:t>
            </a:r>
            <a:endParaRPr lang="de-DE" dirty="0"/>
          </a:p>
        </p:txBody>
      </p:sp>
      <p:sp>
        <p:nvSpPr>
          <p:cNvPr id="25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051721" y="3068959"/>
            <a:ext cx="2591718" cy="3239765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1"/>
            <a:r>
              <a:rPr lang="de-DE" dirty="0" smtClean="0"/>
              <a:t>Firmenname</a:t>
            </a:r>
          </a:p>
          <a:p>
            <a:pPr lvl="2"/>
            <a:r>
              <a:rPr lang="de-DE" dirty="0" smtClean="0"/>
              <a:t>Ggf. Zusatz</a:t>
            </a:r>
          </a:p>
          <a:p>
            <a:pPr lvl="2"/>
            <a:r>
              <a:rPr lang="de-DE" dirty="0" smtClean="0"/>
              <a:t>Anschrift</a:t>
            </a:r>
          </a:p>
          <a:p>
            <a:pPr lvl="2"/>
            <a:r>
              <a:rPr lang="de-DE" dirty="0" smtClean="0"/>
              <a:t>PLZ Ort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smtClean="0"/>
              <a:t>vorname.nachname@berenberg.de</a:t>
            </a:r>
          </a:p>
        </p:txBody>
      </p:sp>
      <p:sp>
        <p:nvSpPr>
          <p:cNvPr id="26" name="Bildplatzhalter 11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539750" y="3068638"/>
            <a:ext cx="1295946" cy="1800000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platzhalter</a:t>
            </a:r>
            <a:endParaRPr lang="de-DE" dirty="0"/>
          </a:p>
        </p:txBody>
      </p:sp>
      <p:cxnSp>
        <p:nvCxnSpPr>
          <p:cNvPr id="27" name="Gerade Verbindung 26"/>
          <p:cNvCxnSpPr/>
          <p:nvPr/>
        </p:nvCxnSpPr>
        <p:spPr bwMode="gray">
          <a:xfrm>
            <a:off x="539750" y="2786328"/>
            <a:ext cx="4103688" cy="0"/>
          </a:xfrm>
          <a:prstGeom prst="line">
            <a:avLst/>
          </a:prstGeom>
          <a:ln w="952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umsplatzhalter 4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2.01.2018</a:t>
            </a:fld>
            <a:endParaRPr lang="de-DE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3" name="Rechteck 12"/>
          <p:cNvSpPr/>
          <p:nvPr userDrawn="1"/>
        </p:nvSpPr>
        <p:spPr bwMode="gray">
          <a:xfrm>
            <a:off x="539750" y="2060848"/>
            <a:ext cx="4103688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 defTabSz="914400" eaLnBrk="1" latinLnBrk="0" hangingPunct="1">
              <a:buNone/>
            </a:pPr>
            <a:r>
              <a:rPr lang="de-DE" sz="1600" b="1" cap="none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Ihr Ansprechpartner</a:t>
            </a:r>
          </a:p>
        </p:txBody>
      </p:sp>
    </p:spTree>
    <p:extLst>
      <p:ext uri="{BB962C8B-B14F-4D97-AF65-F5344CB8AC3E}">
        <p14:creationId xmlns:p14="http://schemas.microsoft.com/office/powerpoint/2010/main" val="3913171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Kontakte Bild&#10;2 Contacts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7092950" y="4653136"/>
            <a:ext cx="1800225" cy="1655588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platzhalter</a:t>
            </a:r>
            <a:endParaRPr lang="de-DE" dirty="0"/>
          </a:p>
        </p:txBody>
      </p:sp>
      <p:sp>
        <p:nvSpPr>
          <p:cNvPr id="14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403648" y="3068959"/>
            <a:ext cx="2160290" cy="3239765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err="1" smtClean="0"/>
              <a:t>vorname.nachname</a:t>
            </a:r>
            <a:r>
              <a:rPr lang="de-DE" dirty="0" smtClean="0"/>
              <a:t>@</a:t>
            </a:r>
            <a:br>
              <a:rPr lang="de-DE" dirty="0" smtClean="0"/>
            </a:br>
            <a:r>
              <a:rPr lang="de-DE" dirty="0" smtClean="0"/>
              <a:t>berenberg.de</a:t>
            </a:r>
          </a:p>
        </p:txBody>
      </p:sp>
      <p:sp>
        <p:nvSpPr>
          <p:cNvPr id="16" name="Textplatzhalter 1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571999" y="3068959"/>
            <a:ext cx="2160589" cy="3239765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err="1" smtClean="0"/>
              <a:t>vorname.nachname</a:t>
            </a:r>
            <a:r>
              <a:rPr lang="de-DE" dirty="0" smtClean="0"/>
              <a:t>@</a:t>
            </a:r>
            <a:br>
              <a:rPr lang="de-DE" dirty="0" smtClean="0"/>
            </a:br>
            <a:r>
              <a:rPr lang="de-DE" dirty="0" smtClean="0"/>
              <a:t>berenberg.de</a:t>
            </a:r>
          </a:p>
        </p:txBody>
      </p:sp>
      <p:sp>
        <p:nvSpPr>
          <p:cNvPr id="17" name="Textplatzhalter 10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092950" y="3068960"/>
            <a:ext cx="1800225" cy="144016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Firmenname</a:t>
            </a:r>
          </a:p>
          <a:p>
            <a:pPr lvl="1"/>
            <a:r>
              <a:rPr lang="de-DE" dirty="0" smtClean="0"/>
              <a:t>Ggf. Zusatz</a:t>
            </a:r>
          </a:p>
          <a:p>
            <a:pPr lvl="1"/>
            <a:r>
              <a:rPr lang="de-DE" dirty="0" smtClean="0"/>
              <a:t>Anschrift</a:t>
            </a:r>
          </a:p>
          <a:p>
            <a:pPr lvl="1"/>
            <a:r>
              <a:rPr lang="de-DE" dirty="0" smtClean="0"/>
              <a:t>PLZ Ort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</p:txBody>
      </p:sp>
      <p:sp>
        <p:nvSpPr>
          <p:cNvPr id="18" name="Bildplatzhalter 15"/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539750" y="3068638"/>
            <a:ext cx="648000" cy="936000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-platzhalter</a:t>
            </a:r>
            <a:endParaRPr lang="de-DE" dirty="0"/>
          </a:p>
        </p:txBody>
      </p:sp>
      <p:sp>
        <p:nvSpPr>
          <p:cNvPr id="19" name="Bildplatzhalter 15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3707904" y="3068638"/>
            <a:ext cx="648000" cy="936000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-platzhalter</a:t>
            </a:r>
            <a:endParaRPr lang="de-DE" dirty="0"/>
          </a:p>
        </p:txBody>
      </p:sp>
      <p:cxnSp>
        <p:nvCxnSpPr>
          <p:cNvPr id="20" name="Gerade Verbindung 19"/>
          <p:cNvCxnSpPr/>
          <p:nvPr/>
        </p:nvCxnSpPr>
        <p:spPr bwMode="gray">
          <a:xfrm>
            <a:off x="539750" y="2786328"/>
            <a:ext cx="6192838" cy="0"/>
          </a:xfrm>
          <a:prstGeom prst="line">
            <a:avLst/>
          </a:prstGeom>
          <a:ln w="952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umsplatzhalter 4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2.01.2018</a:t>
            </a:fld>
            <a:endParaRPr lang="de-DE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21" name="Rechteck 20"/>
          <p:cNvSpPr/>
          <p:nvPr userDrawn="1"/>
        </p:nvSpPr>
        <p:spPr bwMode="gray">
          <a:xfrm>
            <a:off x="539750" y="2060848"/>
            <a:ext cx="6192838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 defTabSz="914400" eaLnBrk="1" latinLnBrk="0" hangingPunct="1">
              <a:buNone/>
            </a:pPr>
            <a:r>
              <a:rPr lang="de-DE" sz="1600" b="1" i="0" cap="none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Ihre Ansprechpartner</a:t>
            </a:r>
          </a:p>
        </p:txBody>
      </p:sp>
    </p:spTree>
    <p:extLst>
      <p:ext uri="{BB962C8B-B14F-4D97-AF65-F5344CB8AC3E}">
        <p14:creationId xmlns:p14="http://schemas.microsoft.com/office/powerpoint/2010/main" val="2682260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Kontakte Bild&#10;4 Contacts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7092950" y="4653136"/>
            <a:ext cx="1800225" cy="1655588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platzhalter</a:t>
            </a:r>
            <a:endParaRPr lang="de-DE" dirty="0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403648" y="3068960"/>
            <a:ext cx="2160290" cy="144016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err="1" smtClean="0"/>
              <a:t>vorname.nachname</a:t>
            </a:r>
            <a:r>
              <a:rPr lang="de-DE" dirty="0" smtClean="0"/>
              <a:t>@</a:t>
            </a:r>
            <a:br>
              <a:rPr lang="de-DE" dirty="0" smtClean="0"/>
            </a:br>
            <a:r>
              <a:rPr lang="de-DE" dirty="0" smtClean="0"/>
              <a:t>berenberg.de</a:t>
            </a:r>
          </a:p>
        </p:txBody>
      </p:sp>
      <p:sp>
        <p:nvSpPr>
          <p:cNvPr id="23" name="Textplatzhalter 1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571999" y="3068960"/>
            <a:ext cx="2160589" cy="144016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err="1" smtClean="0"/>
              <a:t>vorname.nachname</a:t>
            </a:r>
            <a:r>
              <a:rPr lang="de-DE" dirty="0" smtClean="0"/>
              <a:t>@</a:t>
            </a:r>
            <a:br>
              <a:rPr lang="de-DE" dirty="0" smtClean="0"/>
            </a:br>
            <a:r>
              <a:rPr lang="de-DE" dirty="0" smtClean="0"/>
              <a:t>berenberg.de</a:t>
            </a:r>
          </a:p>
        </p:txBody>
      </p:sp>
      <p:sp>
        <p:nvSpPr>
          <p:cNvPr id="24" name="Textplatzhalter 10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092950" y="3068960"/>
            <a:ext cx="1800225" cy="144016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Firmenname</a:t>
            </a:r>
          </a:p>
          <a:p>
            <a:pPr lvl="1"/>
            <a:r>
              <a:rPr lang="de-DE" dirty="0" smtClean="0"/>
              <a:t>Ggf. Zusatz</a:t>
            </a:r>
          </a:p>
          <a:p>
            <a:pPr lvl="1"/>
            <a:r>
              <a:rPr lang="de-DE" dirty="0" smtClean="0"/>
              <a:t>Anschrift</a:t>
            </a:r>
          </a:p>
          <a:p>
            <a:pPr lvl="1"/>
            <a:r>
              <a:rPr lang="de-DE" dirty="0" smtClean="0"/>
              <a:t>PLZ Ort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</p:txBody>
      </p:sp>
      <p:sp>
        <p:nvSpPr>
          <p:cNvPr id="25" name="Bildplatzhalter 15"/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539750" y="3068638"/>
            <a:ext cx="648000" cy="936000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-platzhalter</a:t>
            </a:r>
            <a:endParaRPr lang="de-DE" dirty="0"/>
          </a:p>
        </p:txBody>
      </p:sp>
      <p:sp>
        <p:nvSpPr>
          <p:cNvPr id="26" name="Bildplatzhalter 15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3707904" y="3068638"/>
            <a:ext cx="648000" cy="936000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-platzhalter</a:t>
            </a:r>
            <a:endParaRPr lang="de-DE" dirty="0"/>
          </a:p>
        </p:txBody>
      </p:sp>
      <p:sp>
        <p:nvSpPr>
          <p:cNvPr id="27" name="Textplatzhalter 10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403648" y="4653135"/>
            <a:ext cx="2160290" cy="1655589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err="1" smtClean="0"/>
              <a:t>vorname.nachname</a:t>
            </a:r>
            <a:r>
              <a:rPr lang="de-DE" dirty="0" smtClean="0"/>
              <a:t>@</a:t>
            </a:r>
            <a:br>
              <a:rPr lang="de-DE" dirty="0" smtClean="0"/>
            </a:br>
            <a:r>
              <a:rPr lang="de-DE" dirty="0" smtClean="0"/>
              <a:t>berenberg.de</a:t>
            </a:r>
          </a:p>
        </p:txBody>
      </p:sp>
      <p:sp>
        <p:nvSpPr>
          <p:cNvPr id="28" name="Textplatzhalter 10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571999" y="4653135"/>
            <a:ext cx="2160589" cy="1655589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/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 sz="1200"/>
            </a:lvl3pPr>
            <a:lvl4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4pPr>
            <a:lvl5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5pPr>
            <a:lvl6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6pPr>
            <a:lvl7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7pPr>
            <a:lvl8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8pPr>
            <a:lvl9pPr marL="0" indent="0">
              <a:spcBef>
                <a:spcPts val="0"/>
              </a:spcBef>
              <a:spcAft>
                <a:spcPts val="700"/>
              </a:spcAft>
              <a:buFontTx/>
              <a:buNone/>
              <a:defRPr sz="1200"/>
            </a:lvl9pPr>
          </a:lstStyle>
          <a:p>
            <a:pPr lvl="0"/>
            <a:r>
              <a:rPr lang="de-DE" dirty="0" smtClean="0"/>
              <a:t>Vorname Nachname</a:t>
            </a:r>
          </a:p>
          <a:p>
            <a:pPr lvl="2"/>
            <a:r>
              <a:rPr lang="de-DE" dirty="0" smtClean="0"/>
              <a:t>Funktion</a:t>
            </a:r>
          </a:p>
          <a:p>
            <a:pPr lvl="1"/>
            <a:endParaRPr lang="de-DE" dirty="0" smtClean="0"/>
          </a:p>
          <a:p>
            <a:pPr lvl="2"/>
            <a:r>
              <a:rPr lang="de-DE" dirty="0" smtClean="0"/>
              <a:t>Telefon (xxx) xxx xx-x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42925" algn="l"/>
              </a:tabLst>
              <a:defRPr/>
            </a:pPr>
            <a:r>
              <a:rPr lang="de-DE" dirty="0" smtClean="0"/>
              <a:t>Telefax (xxx) xxx xx-x</a:t>
            </a:r>
          </a:p>
          <a:p>
            <a:pPr lvl="2"/>
            <a:r>
              <a:rPr lang="de-DE" dirty="0" err="1" smtClean="0"/>
              <a:t>vorname.nachname</a:t>
            </a:r>
            <a:r>
              <a:rPr lang="de-DE" dirty="0" smtClean="0"/>
              <a:t>@</a:t>
            </a:r>
            <a:br>
              <a:rPr lang="de-DE" dirty="0" smtClean="0"/>
            </a:br>
            <a:r>
              <a:rPr lang="de-DE" dirty="0" smtClean="0"/>
              <a:t>berenberg.de</a:t>
            </a:r>
          </a:p>
        </p:txBody>
      </p:sp>
      <p:sp>
        <p:nvSpPr>
          <p:cNvPr id="29" name="Bildplatzhalter 15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539750" y="4652814"/>
            <a:ext cx="648000" cy="936000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-platzhalter</a:t>
            </a:r>
            <a:endParaRPr lang="de-DE" dirty="0"/>
          </a:p>
        </p:txBody>
      </p:sp>
      <p:sp>
        <p:nvSpPr>
          <p:cNvPr id="30" name="Bildplatzhalter 15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3707904" y="4652814"/>
            <a:ext cx="648000" cy="936000"/>
          </a:xfrm>
        </p:spPr>
        <p:txBody>
          <a:bodyPr anchor="ctr"/>
          <a:lstStyle>
            <a:lvl1pPr algn="ctr">
              <a:defRPr sz="1100"/>
            </a:lvl1pPr>
          </a:lstStyle>
          <a:p>
            <a:r>
              <a:rPr lang="de-DE" dirty="0" smtClean="0"/>
              <a:t>Bild-platzhalter</a:t>
            </a:r>
            <a:endParaRPr lang="de-DE" dirty="0"/>
          </a:p>
        </p:txBody>
      </p:sp>
      <p:cxnSp>
        <p:nvCxnSpPr>
          <p:cNvPr id="31" name="Gerade Verbindung 30"/>
          <p:cNvCxnSpPr/>
          <p:nvPr/>
        </p:nvCxnSpPr>
        <p:spPr bwMode="gray">
          <a:xfrm>
            <a:off x="539750" y="2786328"/>
            <a:ext cx="6192838" cy="0"/>
          </a:xfrm>
          <a:prstGeom prst="line">
            <a:avLst/>
          </a:prstGeom>
          <a:ln w="952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umsplatzhalter 4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2.01.2018</a:t>
            </a:fld>
            <a:endParaRPr lang="de-DE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2" name="Rechteck 1"/>
          <p:cNvSpPr/>
          <p:nvPr userDrawn="1"/>
        </p:nvSpPr>
        <p:spPr bwMode="gray">
          <a:xfrm>
            <a:off x="539750" y="2060848"/>
            <a:ext cx="6192838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 defTabSz="914400" eaLnBrk="1" latinLnBrk="0" hangingPunct="1">
              <a:buNone/>
            </a:pPr>
            <a:r>
              <a:rPr lang="de-DE" sz="1600" b="1" i="0" cap="none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Ihre Ansprechpartner</a:t>
            </a:r>
          </a:p>
        </p:txBody>
      </p:sp>
    </p:spTree>
    <p:extLst>
      <p:ext uri="{BB962C8B-B14F-4D97-AF65-F5344CB8AC3E}">
        <p14:creationId xmlns:p14="http://schemas.microsoft.com/office/powerpoint/2010/main" val="2945859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3"/>
          <p:cNvSpPr>
            <a:spLocks noGrp="1"/>
          </p:cNvSpPr>
          <p:nvPr>
            <p:ph type="body" sz="quarter" idx="13"/>
          </p:nvPr>
        </p:nvSpPr>
        <p:spPr bwMode="gray">
          <a:xfrm>
            <a:off x="250825" y="3573463"/>
            <a:ext cx="6481763" cy="2735262"/>
          </a:xfrm>
          <a:solidFill>
            <a:schemeClr val="bg1">
              <a:alpha val="85000"/>
            </a:schemeClr>
          </a:solidFill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lIns="216000" tIns="216000" rIns="216000" bIns="216000" anchor="b" anchorCtr="0"/>
          <a:lstStyle>
            <a:lvl1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2pPr>
            <a:lvl3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5pPr>
            <a:lvl6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6pPr>
            <a:lvl7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7pPr>
            <a:lvl8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8pPr>
            <a:lvl9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8" name="Bildplatzhalter 8"/>
          <p:cNvSpPr>
            <a:spLocks noGrp="1"/>
          </p:cNvSpPr>
          <p:nvPr>
            <p:ph type="pic" sz="quarter" idx="11"/>
          </p:nvPr>
        </p:nvSpPr>
        <p:spPr bwMode="gray">
          <a:xfrm>
            <a:off x="7092950" y="6714000"/>
            <a:ext cx="1800000" cy="144000"/>
          </a:xfrm>
          <a:solidFill>
            <a:schemeClr val="tx2"/>
          </a:solid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>
          <a:xfrm>
            <a:off x="6948488" y="115888"/>
            <a:ext cx="2087562" cy="936625"/>
          </a:xfrm>
          <a:ln>
            <a:solidFill>
              <a:schemeClr val="tx2"/>
            </a:solidFill>
          </a:ln>
        </p:spPr>
        <p:txBody>
          <a:bodyPr lIns="36000" tIns="360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1214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&#10;Section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1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-14557" y="-4761"/>
            <a:ext cx="9175184" cy="6880580"/>
          </a:xfrm>
          <a:custGeom>
            <a:avLst/>
            <a:gdLst>
              <a:gd name="connsiteX0" fmla="*/ 10 w 9144000"/>
              <a:gd name="connsiteY0" fmla="*/ 2619516 h 6858000"/>
              <a:gd name="connsiteX1" fmla="*/ 4572000 w 9144000"/>
              <a:gd name="connsiteY1" fmla="*/ 0 h 6858000"/>
              <a:gd name="connsiteX2" fmla="*/ 9143990 w 9144000"/>
              <a:gd name="connsiteY2" fmla="*/ 2619516 h 6858000"/>
              <a:gd name="connsiteX3" fmla="*/ 7397645 w 9144000"/>
              <a:gd name="connsiteY3" fmla="*/ 6857983 h 6858000"/>
              <a:gd name="connsiteX4" fmla="*/ 1746355 w 9144000"/>
              <a:gd name="connsiteY4" fmla="*/ 6857983 h 6858000"/>
              <a:gd name="connsiteX5" fmla="*/ 10 w 9144000"/>
              <a:gd name="connsiteY5" fmla="*/ 2619516 h 6858000"/>
              <a:gd name="connsiteX0" fmla="*/ 0 w 9143980"/>
              <a:gd name="connsiteY0" fmla="*/ 141 h 6857983"/>
              <a:gd name="connsiteX1" fmla="*/ 4571990 w 9143980"/>
              <a:gd name="connsiteY1" fmla="*/ 0 h 6857983"/>
              <a:gd name="connsiteX2" fmla="*/ 9143980 w 9143980"/>
              <a:gd name="connsiteY2" fmla="*/ 2619516 h 6857983"/>
              <a:gd name="connsiteX3" fmla="*/ 7397635 w 9143980"/>
              <a:gd name="connsiteY3" fmla="*/ 6857983 h 6857983"/>
              <a:gd name="connsiteX4" fmla="*/ 1746345 w 9143980"/>
              <a:gd name="connsiteY4" fmla="*/ 6857983 h 6857983"/>
              <a:gd name="connsiteX5" fmla="*/ 0 w 9143980"/>
              <a:gd name="connsiteY5" fmla="*/ 141 h 6857983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7403890 w 9150235"/>
              <a:gd name="connsiteY3" fmla="*/ 6857983 h 6867508"/>
              <a:gd name="connsiteX4" fmla="*/ 0 w 9150235"/>
              <a:gd name="connsiteY4" fmla="*/ 6867508 h 6867508"/>
              <a:gd name="connsiteX5" fmla="*/ 6255 w 9150235"/>
              <a:gd name="connsiteY5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7108615 w 9150235"/>
              <a:gd name="connsiteY3" fmla="*/ 6857983 h 6867508"/>
              <a:gd name="connsiteX4" fmla="*/ 0 w 9150235"/>
              <a:gd name="connsiteY4" fmla="*/ 6867508 h 6867508"/>
              <a:gd name="connsiteX5" fmla="*/ 6255 w 9150235"/>
              <a:gd name="connsiteY5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7888184 w 9150235"/>
              <a:gd name="connsiteY3" fmla="*/ 5243513 h 6867508"/>
              <a:gd name="connsiteX4" fmla="*/ 7108615 w 9150235"/>
              <a:gd name="connsiteY4" fmla="*/ 6857983 h 6867508"/>
              <a:gd name="connsiteX5" fmla="*/ 0 w 9150235"/>
              <a:gd name="connsiteY5" fmla="*/ 6867508 h 6867508"/>
              <a:gd name="connsiteX6" fmla="*/ 6255 w 9150235"/>
              <a:gd name="connsiteY6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7888184 w 9150235"/>
              <a:gd name="connsiteY3" fmla="*/ 5243513 h 6867508"/>
              <a:gd name="connsiteX4" fmla="*/ 7307159 w 9150235"/>
              <a:gd name="connsiteY4" fmla="*/ 6448425 h 6867508"/>
              <a:gd name="connsiteX5" fmla="*/ 7108615 w 9150235"/>
              <a:gd name="connsiteY5" fmla="*/ 6857983 h 6867508"/>
              <a:gd name="connsiteX6" fmla="*/ 0 w 9150235"/>
              <a:gd name="connsiteY6" fmla="*/ 6867508 h 6867508"/>
              <a:gd name="connsiteX7" fmla="*/ 6255 w 9150235"/>
              <a:gd name="connsiteY7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7888184 w 9150235"/>
              <a:gd name="connsiteY3" fmla="*/ 5243513 h 6867508"/>
              <a:gd name="connsiteX4" fmla="*/ 7111896 w 9150235"/>
              <a:gd name="connsiteY4" fmla="*/ 6662737 h 6867508"/>
              <a:gd name="connsiteX5" fmla="*/ 7108615 w 9150235"/>
              <a:gd name="connsiteY5" fmla="*/ 6857983 h 6867508"/>
              <a:gd name="connsiteX6" fmla="*/ 0 w 9150235"/>
              <a:gd name="connsiteY6" fmla="*/ 6867508 h 6867508"/>
              <a:gd name="connsiteX7" fmla="*/ 6255 w 9150235"/>
              <a:gd name="connsiteY7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8907359 w 9150235"/>
              <a:gd name="connsiteY3" fmla="*/ 6653213 h 6867508"/>
              <a:gd name="connsiteX4" fmla="*/ 7111896 w 9150235"/>
              <a:gd name="connsiteY4" fmla="*/ 6662737 h 6867508"/>
              <a:gd name="connsiteX5" fmla="*/ 7108615 w 9150235"/>
              <a:gd name="connsiteY5" fmla="*/ 6857983 h 6867508"/>
              <a:gd name="connsiteX6" fmla="*/ 0 w 9150235"/>
              <a:gd name="connsiteY6" fmla="*/ 6867508 h 6867508"/>
              <a:gd name="connsiteX7" fmla="*/ 6255 w 9150235"/>
              <a:gd name="connsiteY7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8926409 w 9150235"/>
              <a:gd name="connsiteY3" fmla="*/ 6191250 h 6867508"/>
              <a:gd name="connsiteX4" fmla="*/ 8907359 w 9150235"/>
              <a:gd name="connsiteY4" fmla="*/ 6653213 h 6867508"/>
              <a:gd name="connsiteX5" fmla="*/ 7111896 w 9150235"/>
              <a:gd name="connsiteY5" fmla="*/ 6662737 h 6867508"/>
              <a:gd name="connsiteX6" fmla="*/ 7108615 w 9150235"/>
              <a:gd name="connsiteY6" fmla="*/ 6857983 h 6867508"/>
              <a:gd name="connsiteX7" fmla="*/ 0 w 9150235"/>
              <a:gd name="connsiteY7" fmla="*/ 6867508 h 6867508"/>
              <a:gd name="connsiteX8" fmla="*/ 6255 w 9150235"/>
              <a:gd name="connsiteY8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8907359 w 9150235"/>
              <a:gd name="connsiteY3" fmla="*/ 6858000 h 6867508"/>
              <a:gd name="connsiteX4" fmla="*/ 8907359 w 9150235"/>
              <a:gd name="connsiteY4" fmla="*/ 6653213 h 6867508"/>
              <a:gd name="connsiteX5" fmla="*/ 7111896 w 9150235"/>
              <a:gd name="connsiteY5" fmla="*/ 6662737 h 6867508"/>
              <a:gd name="connsiteX6" fmla="*/ 7108615 w 9150235"/>
              <a:gd name="connsiteY6" fmla="*/ 6857983 h 6867508"/>
              <a:gd name="connsiteX7" fmla="*/ 0 w 9150235"/>
              <a:gd name="connsiteY7" fmla="*/ 6867508 h 6867508"/>
              <a:gd name="connsiteX8" fmla="*/ 6255 w 9150235"/>
              <a:gd name="connsiteY8" fmla="*/ 141 h 6867508"/>
              <a:gd name="connsiteX0" fmla="*/ 6255 w 9150235"/>
              <a:gd name="connsiteY0" fmla="*/ 141 h 6867508"/>
              <a:gd name="connsiteX1" fmla="*/ 4578245 w 9150235"/>
              <a:gd name="connsiteY1" fmla="*/ 0 h 6867508"/>
              <a:gd name="connsiteX2" fmla="*/ 9150235 w 9150235"/>
              <a:gd name="connsiteY2" fmla="*/ 2619516 h 6867508"/>
              <a:gd name="connsiteX3" fmla="*/ 8997846 w 9150235"/>
              <a:gd name="connsiteY3" fmla="*/ 5334000 h 6867508"/>
              <a:gd name="connsiteX4" fmla="*/ 8907359 w 9150235"/>
              <a:gd name="connsiteY4" fmla="*/ 6858000 h 6867508"/>
              <a:gd name="connsiteX5" fmla="*/ 8907359 w 9150235"/>
              <a:gd name="connsiteY5" fmla="*/ 6653213 h 6867508"/>
              <a:gd name="connsiteX6" fmla="*/ 7111896 w 9150235"/>
              <a:gd name="connsiteY6" fmla="*/ 6662737 h 6867508"/>
              <a:gd name="connsiteX7" fmla="*/ 7108615 w 9150235"/>
              <a:gd name="connsiteY7" fmla="*/ 6857983 h 6867508"/>
              <a:gd name="connsiteX8" fmla="*/ 0 w 9150235"/>
              <a:gd name="connsiteY8" fmla="*/ 6867508 h 6867508"/>
              <a:gd name="connsiteX9" fmla="*/ 6255 w 9150235"/>
              <a:gd name="connsiteY9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150235 w 9150246"/>
              <a:gd name="connsiteY2" fmla="*/ 2619516 h 6867508"/>
              <a:gd name="connsiteX3" fmla="*/ 9150246 w 9150246"/>
              <a:gd name="connsiteY3" fmla="*/ 6862762 h 6867508"/>
              <a:gd name="connsiteX4" fmla="*/ 8907359 w 9150246"/>
              <a:gd name="connsiteY4" fmla="*/ 6858000 h 6867508"/>
              <a:gd name="connsiteX5" fmla="*/ 8907359 w 9150246"/>
              <a:gd name="connsiteY5" fmla="*/ 6653213 h 6867508"/>
              <a:gd name="connsiteX6" fmla="*/ 7111896 w 9150246"/>
              <a:gd name="connsiteY6" fmla="*/ 6662737 h 6867508"/>
              <a:gd name="connsiteX7" fmla="*/ 7108615 w 9150246"/>
              <a:gd name="connsiteY7" fmla="*/ 6857983 h 6867508"/>
              <a:gd name="connsiteX8" fmla="*/ 0 w 9150246"/>
              <a:gd name="connsiteY8" fmla="*/ 6867508 h 6867508"/>
              <a:gd name="connsiteX9" fmla="*/ 6255 w 9150246"/>
              <a:gd name="connsiteY9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150235 w 9150246"/>
              <a:gd name="connsiteY2" fmla="*/ 1057416 h 6867508"/>
              <a:gd name="connsiteX3" fmla="*/ 9150246 w 9150246"/>
              <a:gd name="connsiteY3" fmla="*/ 6862762 h 6867508"/>
              <a:gd name="connsiteX4" fmla="*/ 8907359 w 9150246"/>
              <a:gd name="connsiteY4" fmla="*/ 6858000 h 6867508"/>
              <a:gd name="connsiteX5" fmla="*/ 8907359 w 9150246"/>
              <a:gd name="connsiteY5" fmla="*/ 6653213 h 6867508"/>
              <a:gd name="connsiteX6" fmla="*/ 7111896 w 9150246"/>
              <a:gd name="connsiteY6" fmla="*/ 6662737 h 6867508"/>
              <a:gd name="connsiteX7" fmla="*/ 7108615 w 9150246"/>
              <a:gd name="connsiteY7" fmla="*/ 6857983 h 6867508"/>
              <a:gd name="connsiteX8" fmla="*/ 0 w 9150246"/>
              <a:gd name="connsiteY8" fmla="*/ 6867508 h 6867508"/>
              <a:gd name="connsiteX9" fmla="*/ 6255 w 9150246"/>
              <a:gd name="connsiteY9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150235 w 9150246"/>
              <a:gd name="connsiteY2" fmla="*/ 141 h 6867508"/>
              <a:gd name="connsiteX3" fmla="*/ 9150246 w 9150246"/>
              <a:gd name="connsiteY3" fmla="*/ 6862762 h 6867508"/>
              <a:gd name="connsiteX4" fmla="*/ 8907359 w 9150246"/>
              <a:gd name="connsiteY4" fmla="*/ 6858000 h 6867508"/>
              <a:gd name="connsiteX5" fmla="*/ 8907359 w 9150246"/>
              <a:gd name="connsiteY5" fmla="*/ 6653213 h 6867508"/>
              <a:gd name="connsiteX6" fmla="*/ 7111896 w 9150246"/>
              <a:gd name="connsiteY6" fmla="*/ 6662737 h 6867508"/>
              <a:gd name="connsiteX7" fmla="*/ 7108615 w 9150246"/>
              <a:gd name="connsiteY7" fmla="*/ 6857983 h 6867508"/>
              <a:gd name="connsiteX8" fmla="*/ 0 w 9150246"/>
              <a:gd name="connsiteY8" fmla="*/ 6867508 h 6867508"/>
              <a:gd name="connsiteX9" fmla="*/ 6255 w 9150246"/>
              <a:gd name="connsiteY9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8993083 w 9150246"/>
              <a:gd name="connsiteY2" fmla="*/ 0 h 6867508"/>
              <a:gd name="connsiteX3" fmla="*/ 9150235 w 9150246"/>
              <a:gd name="connsiteY3" fmla="*/ 141 h 6867508"/>
              <a:gd name="connsiteX4" fmla="*/ 9150246 w 9150246"/>
              <a:gd name="connsiteY4" fmla="*/ 6862762 h 6867508"/>
              <a:gd name="connsiteX5" fmla="*/ 8907359 w 9150246"/>
              <a:gd name="connsiteY5" fmla="*/ 6858000 h 6867508"/>
              <a:gd name="connsiteX6" fmla="*/ 8907359 w 9150246"/>
              <a:gd name="connsiteY6" fmla="*/ 6653213 h 6867508"/>
              <a:gd name="connsiteX7" fmla="*/ 7111896 w 9150246"/>
              <a:gd name="connsiteY7" fmla="*/ 6662737 h 6867508"/>
              <a:gd name="connsiteX8" fmla="*/ 7108615 w 9150246"/>
              <a:gd name="connsiteY8" fmla="*/ 6857983 h 6867508"/>
              <a:gd name="connsiteX9" fmla="*/ 0 w 9150246"/>
              <a:gd name="connsiteY9" fmla="*/ 6867508 h 6867508"/>
              <a:gd name="connsiteX10" fmla="*/ 6255 w 9150246"/>
              <a:gd name="connsiteY10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26420 w 9150246"/>
              <a:gd name="connsiteY2" fmla="*/ 0 h 6867508"/>
              <a:gd name="connsiteX3" fmla="*/ 9150235 w 9150246"/>
              <a:gd name="connsiteY3" fmla="*/ 141 h 6867508"/>
              <a:gd name="connsiteX4" fmla="*/ 9150246 w 9150246"/>
              <a:gd name="connsiteY4" fmla="*/ 6862762 h 6867508"/>
              <a:gd name="connsiteX5" fmla="*/ 8907359 w 9150246"/>
              <a:gd name="connsiteY5" fmla="*/ 6858000 h 6867508"/>
              <a:gd name="connsiteX6" fmla="*/ 8907359 w 9150246"/>
              <a:gd name="connsiteY6" fmla="*/ 6653213 h 6867508"/>
              <a:gd name="connsiteX7" fmla="*/ 7111896 w 9150246"/>
              <a:gd name="connsiteY7" fmla="*/ 6662737 h 6867508"/>
              <a:gd name="connsiteX8" fmla="*/ 7108615 w 9150246"/>
              <a:gd name="connsiteY8" fmla="*/ 6857983 h 6867508"/>
              <a:gd name="connsiteX9" fmla="*/ 0 w 9150246"/>
              <a:gd name="connsiteY9" fmla="*/ 6867508 h 6867508"/>
              <a:gd name="connsiteX10" fmla="*/ 6255 w 9150246"/>
              <a:gd name="connsiteY10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35945 w 9150246"/>
              <a:gd name="connsiteY2" fmla="*/ 0 h 6867508"/>
              <a:gd name="connsiteX3" fmla="*/ 9150235 w 9150246"/>
              <a:gd name="connsiteY3" fmla="*/ 141 h 6867508"/>
              <a:gd name="connsiteX4" fmla="*/ 9150246 w 9150246"/>
              <a:gd name="connsiteY4" fmla="*/ 6862762 h 6867508"/>
              <a:gd name="connsiteX5" fmla="*/ 8907359 w 9150246"/>
              <a:gd name="connsiteY5" fmla="*/ 6858000 h 6867508"/>
              <a:gd name="connsiteX6" fmla="*/ 8907359 w 9150246"/>
              <a:gd name="connsiteY6" fmla="*/ 6653213 h 6867508"/>
              <a:gd name="connsiteX7" fmla="*/ 7111896 w 9150246"/>
              <a:gd name="connsiteY7" fmla="*/ 6662737 h 6867508"/>
              <a:gd name="connsiteX8" fmla="*/ 7108615 w 9150246"/>
              <a:gd name="connsiteY8" fmla="*/ 6857983 h 6867508"/>
              <a:gd name="connsiteX9" fmla="*/ 0 w 9150246"/>
              <a:gd name="connsiteY9" fmla="*/ 6867508 h 6867508"/>
              <a:gd name="connsiteX10" fmla="*/ 6255 w 9150246"/>
              <a:gd name="connsiteY10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0 h 6867508"/>
              <a:gd name="connsiteX3" fmla="*/ 9150235 w 9150246"/>
              <a:gd name="connsiteY3" fmla="*/ 141 h 6867508"/>
              <a:gd name="connsiteX4" fmla="*/ 9150246 w 9150246"/>
              <a:gd name="connsiteY4" fmla="*/ 6862762 h 6867508"/>
              <a:gd name="connsiteX5" fmla="*/ 8907359 w 9150246"/>
              <a:gd name="connsiteY5" fmla="*/ 6858000 h 6867508"/>
              <a:gd name="connsiteX6" fmla="*/ 8907359 w 9150246"/>
              <a:gd name="connsiteY6" fmla="*/ 6653213 h 6867508"/>
              <a:gd name="connsiteX7" fmla="*/ 7111896 w 9150246"/>
              <a:gd name="connsiteY7" fmla="*/ 6662737 h 6867508"/>
              <a:gd name="connsiteX8" fmla="*/ 7108615 w 9150246"/>
              <a:gd name="connsiteY8" fmla="*/ 6857983 h 6867508"/>
              <a:gd name="connsiteX9" fmla="*/ 0 w 9150246"/>
              <a:gd name="connsiteY9" fmla="*/ 6867508 h 6867508"/>
              <a:gd name="connsiteX10" fmla="*/ 6255 w 9150246"/>
              <a:gd name="connsiteY10" fmla="*/ 141 h 6867508"/>
              <a:gd name="connsiteX0" fmla="*/ 6255 w 9150246"/>
              <a:gd name="connsiteY0" fmla="*/ 2522 h 6869889"/>
              <a:gd name="connsiteX1" fmla="*/ 4578245 w 9150246"/>
              <a:gd name="connsiteY1" fmla="*/ 2381 h 6869889"/>
              <a:gd name="connsiteX2" fmla="*/ 8969270 w 9150246"/>
              <a:gd name="connsiteY2" fmla="*/ 0 h 6869889"/>
              <a:gd name="connsiteX3" fmla="*/ 9045470 w 9150246"/>
              <a:gd name="connsiteY3" fmla="*/ 2381 h 6869889"/>
              <a:gd name="connsiteX4" fmla="*/ 9150235 w 9150246"/>
              <a:gd name="connsiteY4" fmla="*/ 2522 h 6869889"/>
              <a:gd name="connsiteX5" fmla="*/ 9150246 w 9150246"/>
              <a:gd name="connsiteY5" fmla="*/ 6865143 h 6869889"/>
              <a:gd name="connsiteX6" fmla="*/ 8907359 w 9150246"/>
              <a:gd name="connsiteY6" fmla="*/ 6860381 h 6869889"/>
              <a:gd name="connsiteX7" fmla="*/ 8907359 w 9150246"/>
              <a:gd name="connsiteY7" fmla="*/ 6655594 h 6869889"/>
              <a:gd name="connsiteX8" fmla="*/ 7111896 w 9150246"/>
              <a:gd name="connsiteY8" fmla="*/ 6665118 h 6869889"/>
              <a:gd name="connsiteX9" fmla="*/ 7108615 w 9150246"/>
              <a:gd name="connsiteY9" fmla="*/ 6860364 h 6869889"/>
              <a:gd name="connsiteX10" fmla="*/ 0 w 9150246"/>
              <a:gd name="connsiteY10" fmla="*/ 6869889 h 6869889"/>
              <a:gd name="connsiteX11" fmla="*/ 6255 w 9150246"/>
              <a:gd name="connsiteY11" fmla="*/ 2522 h 6869889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7851 w 9150246"/>
              <a:gd name="connsiteY2" fmla="*/ 1054894 h 6867508"/>
              <a:gd name="connsiteX3" fmla="*/ 9045470 w 9150246"/>
              <a:gd name="connsiteY3" fmla="*/ 0 h 6867508"/>
              <a:gd name="connsiteX4" fmla="*/ 9150235 w 9150246"/>
              <a:gd name="connsiteY4" fmla="*/ 141 h 6867508"/>
              <a:gd name="connsiteX5" fmla="*/ 9150246 w 9150246"/>
              <a:gd name="connsiteY5" fmla="*/ 6862762 h 6867508"/>
              <a:gd name="connsiteX6" fmla="*/ 8907359 w 9150246"/>
              <a:gd name="connsiteY6" fmla="*/ 6858000 h 6867508"/>
              <a:gd name="connsiteX7" fmla="*/ 8907359 w 9150246"/>
              <a:gd name="connsiteY7" fmla="*/ 6653213 h 6867508"/>
              <a:gd name="connsiteX8" fmla="*/ 7111896 w 9150246"/>
              <a:gd name="connsiteY8" fmla="*/ 6662737 h 6867508"/>
              <a:gd name="connsiteX9" fmla="*/ 7108615 w 9150246"/>
              <a:gd name="connsiteY9" fmla="*/ 6857983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7851 w 9150246"/>
              <a:gd name="connsiteY2" fmla="*/ 1054894 h 6867508"/>
              <a:gd name="connsiteX3" fmla="*/ 9045470 w 9150246"/>
              <a:gd name="connsiteY3" fmla="*/ 2381 h 6867508"/>
              <a:gd name="connsiteX4" fmla="*/ 9150235 w 9150246"/>
              <a:gd name="connsiteY4" fmla="*/ 141 h 6867508"/>
              <a:gd name="connsiteX5" fmla="*/ 9150246 w 9150246"/>
              <a:gd name="connsiteY5" fmla="*/ 6862762 h 6867508"/>
              <a:gd name="connsiteX6" fmla="*/ 8907359 w 9150246"/>
              <a:gd name="connsiteY6" fmla="*/ 6858000 h 6867508"/>
              <a:gd name="connsiteX7" fmla="*/ 8907359 w 9150246"/>
              <a:gd name="connsiteY7" fmla="*/ 6653213 h 6867508"/>
              <a:gd name="connsiteX8" fmla="*/ 7111896 w 9150246"/>
              <a:gd name="connsiteY8" fmla="*/ 6662737 h 6867508"/>
              <a:gd name="connsiteX9" fmla="*/ 7108615 w 9150246"/>
              <a:gd name="connsiteY9" fmla="*/ 6857983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7497658 w 9150246"/>
              <a:gd name="connsiteY2" fmla="*/ 690563 h 6867508"/>
              <a:gd name="connsiteX3" fmla="*/ 9047851 w 9150246"/>
              <a:gd name="connsiteY3" fmla="*/ 1054894 h 6867508"/>
              <a:gd name="connsiteX4" fmla="*/ 9045470 w 9150246"/>
              <a:gd name="connsiteY4" fmla="*/ 2381 h 6867508"/>
              <a:gd name="connsiteX5" fmla="*/ 9150235 w 9150246"/>
              <a:gd name="connsiteY5" fmla="*/ 141 h 6867508"/>
              <a:gd name="connsiteX6" fmla="*/ 9150246 w 9150246"/>
              <a:gd name="connsiteY6" fmla="*/ 6862762 h 6867508"/>
              <a:gd name="connsiteX7" fmla="*/ 8907359 w 9150246"/>
              <a:gd name="connsiteY7" fmla="*/ 6858000 h 6867508"/>
              <a:gd name="connsiteX8" fmla="*/ 8907359 w 9150246"/>
              <a:gd name="connsiteY8" fmla="*/ 6653213 h 6867508"/>
              <a:gd name="connsiteX9" fmla="*/ 7111896 w 9150246"/>
              <a:gd name="connsiteY9" fmla="*/ 6662737 h 6867508"/>
              <a:gd name="connsiteX10" fmla="*/ 7108615 w 9150246"/>
              <a:gd name="connsiteY10" fmla="*/ 6857983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6947589 w 9150246"/>
              <a:gd name="connsiteY2" fmla="*/ 1057276 h 6867508"/>
              <a:gd name="connsiteX3" fmla="*/ 9047851 w 9150246"/>
              <a:gd name="connsiteY3" fmla="*/ 1054894 h 6867508"/>
              <a:gd name="connsiteX4" fmla="*/ 9045470 w 9150246"/>
              <a:gd name="connsiteY4" fmla="*/ 2381 h 6867508"/>
              <a:gd name="connsiteX5" fmla="*/ 9150235 w 9150246"/>
              <a:gd name="connsiteY5" fmla="*/ 141 h 6867508"/>
              <a:gd name="connsiteX6" fmla="*/ 9150246 w 9150246"/>
              <a:gd name="connsiteY6" fmla="*/ 6862762 h 6867508"/>
              <a:gd name="connsiteX7" fmla="*/ 8907359 w 9150246"/>
              <a:gd name="connsiteY7" fmla="*/ 6858000 h 6867508"/>
              <a:gd name="connsiteX8" fmla="*/ 8907359 w 9150246"/>
              <a:gd name="connsiteY8" fmla="*/ 6653213 h 6867508"/>
              <a:gd name="connsiteX9" fmla="*/ 7111896 w 9150246"/>
              <a:gd name="connsiteY9" fmla="*/ 6662737 h 6867508"/>
              <a:gd name="connsiteX10" fmla="*/ 7108615 w 9150246"/>
              <a:gd name="connsiteY10" fmla="*/ 6857983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6542776 w 9150246"/>
              <a:gd name="connsiteY2" fmla="*/ 871538 h 6867508"/>
              <a:gd name="connsiteX3" fmla="*/ 6947589 w 9150246"/>
              <a:gd name="connsiteY3" fmla="*/ 1057276 h 6867508"/>
              <a:gd name="connsiteX4" fmla="*/ 9047851 w 9150246"/>
              <a:gd name="connsiteY4" fmla="*/ 1054894 h 6867508"/>
              <a:gd name="connsiteX5" fmla="*/ 9045470 w 9150246"/>
              <a:gd name="connsiteY5" fmla="*/ 2381 h 6867508"/>
              <a:gd name="connsiteX6" fmla="*/ 9150235 w 9150246"/>
              <a:gd name="connsiteY6" fmla="*/ 141 h 6867508"/>
              <a:gd name="connsiteX7" fmla="*/ 9150246 w 9150246"/>
              <a:gd name="connsiteY7" fmla="*/ 6862762 h 6867508"/>
              <a:gd name="connsiteX8" fmla="*/ 8907359 w 9150246"/>
              <a:gd name="connsiteY8" fmla="*/ 6858000 h 6867508"/>
              <a:gd name="connsiteX9" fmla="*/ 8907359 w 9150246"/>
              <a:gd name="connsiteY9" fmla="*/ 6653213 h 6867508"/>
              <a:gd name="connsiteX10" fmla="*/ 7111896 w 9150246"/>
              <a:gd name="connsiteY10" fmla="*/ 6662737 h 6867508"/>
              <a:gd name="connsiteX11" fmla="*/ 7108615 w 9150246"/>
              <a:gd name="connsiteY11" fmla="*/ 6857983 h 6867508"/>
              <a:gd name="connsiteX12" fmla="*/ 0 w 9150246"/>
              <a:gd name="connsiteY12" fmla="*/ 6867508 h 6867508"/>
              <a:gd name="connsiteX13" fmla="*/ 6255 w 9150246"/>
              <a:gd name="connsiteY13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6949970 w 9150246"/>
              <a:gd name="connsiteY2" fmla="*/ 104775 h 6867508"/>
              <a:gd name="connsiteX3" fmla="*/ 6947589 w 9150246"/>
              <a:gd name="connsiteY3" fmla="*/ 1057276 h 6867508"/>
              <a:gd name="connsiteX4" fmla="*/ 9047851 w 9150246"/>
              <a:gd name="connsiteY4" fmla="*/ 1054894 h 6867508"/>
              <a:gd name="connsiteX5" fmla="*/ 9045470 w 9150246"/>
              <a:gd name="connsiteY5" fmla="*/ 2381 h 6867508"/>
              <a:gd name="connsiteX6" fmla="*/ 9150235 w 9150246"/>
              <a:gd name="connsiteY6" fmla="*/ 141 h 6867508"/>
              <a:gd name="connsiteX7" fmla="*/ 9150246 w 9150246"/>
              <a:gd name="connsiteY7" fmla="*/ 6862762 h 6867508"/>
              <a:gd name="connsiteX8" fmla="*/ 8907359 w 9150246"/>
              <a:gd name="connsiteY8" fmla="*/ 6858000 h 6867508"/>
              <a:gd name="connsiteX9" fmla="*/ 8907359 w 9150246"/>
              <a:gd name="connsiteY9" fmla="*/ 6653213 h 6867508"/>
              <a:gd name="connsiteX10" fmla="*/ 7111896 w 9150246"/>
              <a:gd name="connsiteY10" fmla="*/ 6662737 h 6867508"/>
              <a:gd name="connsiteX11" fmla="*/ 7108615 w 9150246"/>
              <a:gd name="connsiteY11" fmla="*/ 6857983 h 6867508"/>
              <a:gd name="connsiteX12" fmla="*/ 0 w 9150246"/>
              <a:gd name="connsiteY12" fmla="*/ 6867508 h 6867508"/>
              <a:gd name="connsiteX13" fmla="*/ 6255 w 9150246"/>
              <a:gd name="connsiteY13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6754708 w 9150246"/>
              <a:gd name="connsiteY2" fmla="*/ 92869 h 6867508"/>
              <a:gd name="connsiteX3" fmla="*/ 6949970 w 9150246"/>
              <a:gd name="connsiteY3" fmla="*/ 104775 h 6867508"/>
              <a:gd name="connsiteX4" fmla="*/ 6947589 w 9150246"/>
              <a:gd name="connsiteY4" fmla="*/ 1057276 h 6867508"/>
              <a:gd name="connsiteX5" fmla="*/ 9047851 w 9150246"/>
              <a:gd name="connsiteY5" fmla="*/ 1054894 h 6867508"/>
              <a:gd name="connsiteX6" fmla="*/ 9045470 w 9150246"/>
              <a:gd name="connsiteY6" fmla="*/ 2381 h 6867508"/>
              <a:gd name="connsiteX7" fmla="*/ 9150235 w 9150246"/>
              <a:gd name="connsiteY7" fmla="*/ 141 h 6867508"/>
              <a:gd name="connsiteX8" fmla="*/ 9150246 w 9150246"/>
              <a:gd name="connsiteY8" fmla="*/ 6862762 h 6867508"/>
              <a:gd name="connsiteX9" fmla="*/ 8907359 w 9150246"/>
              <a:gd name="connsiteY9" fmla="*/ 6858000 h 6867508"/>
              <a:gd name="connsiteX10" fmla="*/ 8907359 w 9150246"/>
              <a:gd name="connsiteY10" fmla="*/ 6653213 h 6867508"/>
              <a:gd name="connsiteX11" fmla="*/ 7111896 w 9150246"/>
              <a:gd name="connsiteY11" fmla="*/ 6662737 h 6867508"/>
              <a:gd name="connsiteX12" fmla="*/ 7108615 w 9150246"/>
              <a:gd name="connsiteY12" fmla="*/ 6857983 h 6867508"/>
              <a:gd name="connsiteX13" fmla="*/ 0 w 9150246"/>
              <a:gd name="connsiteY13" fmla="*/ 6867508 h 6867508"/>
              <a:gd name="connsiteX14" fmla="*/ 6255 w 9150246"/>
              <a:gd name="connsiteY14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7852 w 9150246"/>
              <a:gd name="connsiteY2" fmla="*/ 111919 h 6867508"/>
              <a:gd name="connsiteX3" fmla="*/ 6949970 w 9150246"/>
              <a:gd name="connsiteY3" fmla="*/ 104775 h 6867508"/>
              <a:gd name="connsiteX4" fmla="*/ 6947589 w 9150246"/>
              <a:gd name="connsiteY4" fmla="*/ 1057276 h 6867508"/>
              <a:gd name="connsiteX5" fmla="*/ 9047851 w 9150246"/>
              <a:gd name="connsiteY5" fmla="*/ 1054894 h 6867508"/>
              <a:gd name="connsiteX6" fmla="*/ 9045470 w 9150246"/>
              <a:gd name="connsiteY6" fmla="*/ 2381 h 6867508"/>
              <a:gd name="connsiteX7" fmla="*/ 9150235 w 9150246"/>
              <a:gd name="connsiteY7" fmla="*/ 141 h 6867508"/>
              <a:gd name="connsiteX8" fmla="*/ 9150246 w 9150246"/>
              <a:gd name="connsiteY8" fmla="*/ 6862762 h 6867508"/>
              <a:gd name="connsiteX9" fmla="*/ 8907359 w 9150246"/>
              <a:gd name="connsiteY9" fmla="*/ 6858000 h 6867508"/>
              <a:gd name="connsiteX10" fmla="*/ 8907359 w 9150246"/>
              <a:gd name="connsiteY10" fmla="*/ 6653213 h 6867508"/>
              <a:gd name="connsiteX11" fmla="*/ 7111896 w 9150246"/>
              <a:gd name="connsiteY11" fmla="*/ 6662737 h 6867508"/>
              <a:gd name="connsiteX12" fmla="*/ 7108615 w 9150246"/>
              <a:gd name="connsiteY12" fmla="*/ 6857983 h 6867508"/>
              <a:gd name="connsiteX13" fmla="*/ 0 w 9150246"/>
              <a:gd name="connsiteY13" fmla="*/ 6867508 h 6867508"/>
              <a:gd name="connsiteX14" fmla="*/ 6255 w 9150246"/>
              <a:gd name="connsiteY14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7857226 w 9150246"/>
              <a:gd name="connsiteY2" fmla="*/ 78581 h 6867508"/>
              <a:gd name="connsiteX3" fmla="*/ 9047852 w 9150246"/>
              <a:gd name="connsiteY3" fmla="*/ 111919 h 6867508"/>
              <a:gd name="connsiteX4" fmla="*/ 6949970 w 9150246"/>
              <a:gd name="connsiteY4" fmla="*/ 104775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8907359 w 9150246"/>
              <a:gd name="connsiteY10" fmla="*/ 6858000 h 6867508"/>
              <a:gd name="connsiteX11" fmla="*/ 8907359 w 9150246"/>
              <a:gd name="connsiteY11" fmla="*/ 6653213 h 6867508"/>
              <a:gd name="connsiteX12" fmla="*/ 7111896 w 9150246"/>
              <a:gd name="connsiteY12" fmla="*/ 6662737 h 6867508"/>
              <a:gd name="connsiteX13" fmla="*/ 7108615 w 9150246"/>
              <a:gd name="connsiteY13" fmla="*/ 6857983 h 6867508"/>
              <a:gd name="connsiteX14" fmla="*/ 0 w 9150246"/>
              <a:gd name="connsiteY14" fmla="*/ 6867508 h 6867508"/>
              <a:gd name="connsiteX15" fmla="*/ 6255 w 9150246"/>
              <a:gd name="connsiteY15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9970 w 9150246"/>
              <a:gd name="connsiteY4" fmla="*/ 104775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8907359 w 9150246"/>
              <a:gd name="connsiteY10" fmla="*/ 6858000 h 6867508"/>
              <a:gd name="connsiteX11" fmla="*/ 8907359 w 9150246"/>
              <a:gd name="connsiteY11" fmla="*/ 6653213 h 6867508"/>
              <a:gd name="connsiteX12" fmla="*/ 7111896 w 9150246"/>
              <a:gd name="connsiteY12" fmla="*/ 6662737 h 6867508"/>
              <a:gd name="connsiteX13" fmla="*/ 7108615 w 9150246"/>
              <a:gd name="connsiteY13" fmla="*/ 6857983 h 6867508"/>
              <a:gd name="connsiteX14" fmla="*/ 0 w 9150246"/>
              <a:gd name="connsiteY14" fmla="*/ 6867508 h 6867508"/>
              <a:gd name="connsiteX15" fmla="*/ 6255 w 9150246"/>
              <a:gd name="connsiteY15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5207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8907359 w 9150246"/>
              <a:gd name="connsiteY10" fmla="*/ 6858000 h 6867508"/>
              <a:gd name="connsiteX11" fmla="*/ 8907359 w 9150246"/>
              <a:gd name="connsiteY11" fmla="*/ 6653213 h 6867508"/>
              <a:gd name="connsiteX12" fmla="*/ 7111896 w 9150246"/>
              <a:gd name="connsiteY12" fmla="*/ 6662737 h 6867508"/>
              <a:gd name="connsiteX13" fmla="*/ 7108615 w 9150246"/>
              <a:gd name="connsiteY13" fmla="*/ 6857983 h 6867508"/>
              <a:gd name="connsiteX14" fmla="*/ 0 w 9150246"/>
              <a:gd name="connsiteY14" fmla="*/ 6867508 h 6867508"/>
              <a:gd name="connsiteX15" fmla="*/ 6255 w 9150246"/>
              <a:gd name="connsiteY15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5207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8907359 w 9150246"/>
              <a:gd name="connsiteY10" fmla="*/ 6858000 h 6867508"/>
              <a:gd name="connsiteX11" fmla="*/ 8907359 w 9150246"/>
              <a:gd name="connsiteY11" fmla="*/ 6653213 h 6867508"/>
              <a:gd name="connsiteX12" fmla="*/ 7108615 w 9150246"/>
              <a:gd name="connsiteY12" fmla="*/ 6857983 h 6867508"/>
              <a:gd name="connsiteX13" fmla="*/ 0 w 9150246"/>
              <a:gd name="connsiteY13" fmla="*/ 6867508 h 6867508"/>
              <a:gd name="connsiteX14" fmla="*/ 6255 w 9150246"/>
              <a:gd name="connsiteY14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5207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8907359 w 9150246"/>
              <a:gd name="connsiteY10" fmla="*/ 6858000 h 6867508"/>
              <a:gd name="connsiteX11" fmla="*/ 7108615 w 9150246"/>
              <a:gd name="connsiteY11" fmla="*/ 6857983 h 6867508"/>
              <a:gd name="connsiteX12" fmla="*/ 0 w 9150246"/>
              <a:gd name="connsiteY12" fmla="*/ 6867508 h 6867508"/>
              <a:gd name="connsiteX13" fmla="*/ 6255 w 9150246"/>
              <a:gd name="connsiteY13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5207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7108615 w 9150246"/>
              <a:gd name="connsiteY10" fmla="*/ 6857983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5207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47852 w 9150246"/>
              <a:gd name="connsiteY3" fmla="*/ 111919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04989 w 9150246"/>
              <a:gd name="connsiteY3" fmla="*/ 100013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50232 w 9150246"/>
              <a:gd name="connsiteY3" fmla="*/ 109538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8926407 w 9150246"/>
              <a:gd name="connsiteY3" fmla="*/ 64294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50232 w 9150246"/>
              <a:gd name="connsiteY3" fmla="*/ 109537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47851 w 9150246"/>
              <a:gd name="connsiteY6" fmla="*/ 1054894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50232 w 9150246"/>
              <a:gd name="connsiteY3" fmla="*/ 109537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71664 w 9150246"/>
              <a:gd name="connsiteY6" fmla="*/ 1097756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50232 w 9150246"/>
              <a:gd name="connsiteY3" fmla="*/ 109537 h 6867508"/>
              <a:gd name="connsiteX4" fmla="*/ 6949969 w 9150246"/>
              <a:gd name="connsiteY4" fmla="*/ 109537 h 6867508"/>
              <a:gd name="connsiteX5" fmla="*/ 6947589 w 9150246"/>
              <a:gd name="connsiteY5" fmla="*/ 1057276 h 6867508"/>
              <a:gd name="connsiteX6" fmla="*/ 9050233 w 9150246"/>
              <a:gd name="connsiteY6" fmla="*/ 1057275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50232 w 9150246"/>
              <a:gd name="connsiteY3" fmla="*/ 109537 h 6867508"/>
              <a:gd name="connsiteX4" fmla="*/ 6949969 w 9150246"/>
              <a:gd name="connsiteY4" fmla="*/ 109537 h 6867508"/>
              <a:gd name="connsiteX5" fmla="*/ 6916632 w 9150246"/>
              <a:gd name="connsiteY5" fmla="*/ 1078707 h 6867508"/>
              <a:gd name="connsiteX6" fmla="*/ 9050233 w 9150246"/>
              <a:gd name="connsiteY6" fmla="*/ 1057275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45470 w 9150246"/>
              <a:gd name="connsiteY2" fmla="*/ 2381 h 6867508"/>
              <a:gd name="connsiteX3" fmla="*/ 9050232 w 9150246"/>
              <a:gd name="connsiteY3" fmla="*/ 109537 h 6867508"/>
              <a:gd name="connsiteX4" fmla="*/ 6949969 w 9150246"/>
              <a:gd name="connsiteY4" fmla="*/ 109537 h 6867508"/>
              <a:gd name="connsiteX5" fmla="*/ 6916632 w 9150246"/>
              <a:gd name="connsiteY5" fmla="*/ 1078707 h 6867508"/>
              <a:gd name="connsiteX6" fmla="*/ 9050233 w 9150246"/>
              <a:gd name="connsiteY6" fmla="*/ 1057275 h 6867508"/>
              <a:gd name="connsiteX7" fmla="*/ 9045470 w 9150246"/>
              <a:gd name="connsiteY7" fmla="*/ 2381 h 6867508"/>
              <a:gd name="connsiteX8" fmla="*/ 9150235 w 9150246"/>
              <a:gd name="connsiteY8" fmla="*/ 141 h 6867508"/>
              <a:gd name="connsiteX9" fmla="*/ 9150246 w 9150246"/>
              <a:gd name="connsiteY9" fmla="*/ 6862762 h 6867508"/>
              <a:gd name="connsiteX10" fmla="*/ 0 w 9150246"/>
              <a:gd name="connsiteY10" fmla="*/ 6867508 h 6867508"/>
              <a:gd name="connsiteX11" fmla="*/ 6255 w 9150246"/>
              <a:gd name="connsiteY11" fmla="*/ 141 h 6867508"/>
              <a:gd name="connsiteX0" fmla="*/ 6255 w 9204580"/>
              <a:gd name="connsiteY0" fmla="*/ 141 h 6867508"/>
              <a:gd name="connsiteX1" fmla="*/ 4578245 w 9204580"/>
              <a:gd name="connsiteY1" fmla="*/ 0 h 6867508"/>
              <a:gd name="connsiteX2" fmla="*/ 9045470 w 9204580"/>
              <a:gd name="connsiteY2" fmla="*/ 2381 h 6867508"/>
              <a:gd name="connsiteX3" fmla="*/ 9050232 w 9204580"/>
              <a:gd name="connsiteY3" fmla="*/ 109537 h 6867508"/>
              <a:gd name="connsiteX4" fmla="*/ 6949969 w 9204580"/>
              <a:gd name="connsiteY4" fmla="*/ 109537 h 6867508"/>
              <a:gd name="connsiteX5" fmla="*/ 6947588 w 9204580"/>
              <a:gd name="connsiteY5" fmla="*/ 1059657 h 6867508"/>
              <a:gd name="connsiteX6" fmla="*/ 9050233 w 9204580"/>
              <a:gd name="connsiteY6" fmla="*/ 1057275 h 6867508"/>
              <a:gd name="connsiteX7" fmla="*/ 9045470 w 9204580"/>
              <a:gd name="connsiteY7" fmla="*/ 2381 h 6867508"/>
              <a:gd name="connsiteX8" fmla="*/ 9150235 w 9204580"/>
              <a:gd name="connsiteY8" fmla="*/ 141 h 6867508"/>
              <a:gd name="connsiteX9" fmla="*/ 9150246 w 9204580"/>
              <a:gd name="connsiteY9" fmla="*/ 6862762 h 6867508"/>
              <a:gd name="connsiteX10" fmla="*/ 0 w 9204580"/>
              <a:gd name="connsiteY10" fmla="*/ 6867508 h 6867508"/>
              <a:gd name="connsiteX11" fmla="*/ 6255 w 9204580"/>
              <a:gd name="connsiteY11" fmla="*/ 141 h 6867508"/>
              <a:gd name="connsiteX0" fmla="*/ 6255 w 9206344"/>
              <a:gd name="connsiteY0" fmla="*/ 141 h 6867508"/>
              <a:gd name="connsiteX1" fmla="*/ 4578245 w 9206344"/>
              <a:gd name="connsiteY1" fmla="*/ 0 h 6867508"/>
              <a:gd name="connsiteX2" fmla="*/ 9045470 w 9206344"/>
              <a:gd name="connsiteY2" fmla="*/ 2381 h 6867508"/>
              <a:gd name="connsiteX3" fmla="*/ 9050232 w 9206344"/>
              <a:gd name="connsiteY3" fmla="*/ 109537 h 6867508"/>
              <a:gd name="connsiteX4" fmla="*/ 6949969 w 9206344"/>
              <a:gd name="connsiteY4" fmla="*/ 109537 h 6867508"/>
              <a:gd name="connsiteX5" fmla="*/ 6923775 w 9206344"/>
              <a:gd name="connsiteY5" fmla="*/ 1095375 h 6867508"/>
              <a:gd name="connsiteX6" fmla="*/ 9050233 w 9206344"/>
              <a:gd name="connsiteY6" fmla="*/ 1057275 h 6867508"/>
              <a:gd name="connsiteX7" fmla="*/ 9045470 w 9206344"/>
              <a:gd name="connsiteY7" fmla="*/ 2381 h 6867508"/>
              <a:gd name="connsiteX8" fmla="*/ 9150235 w 9206344"/>
              <a:gd name="connsiteY8" fmla="*/ 141 h 6867508"/>
              <a:gd name="connsiteX9" fmla="*/ 9150246 w 9206344"/>
              <a:gd name="connsiteY9" fmla="*/ 6862762 h 6867508"/>
              <a:gd name="connsiteX10" fmla="*/ 0 w 9206344"/>
              <a:gd name="connsiteY10" fmla="*/ 6867508 h 6867508"/>
              <a:gd name="connsiteX11" fmla="*/ 6255 w 9206344"/>
              <a:gd name="connsiteY11" fmla="*/ 141 h 6867508"/>
              <a:gd name="connsiteX0" fmla="*/ 6255 w 9204404"/>
              <a:gd name="connsiteY0" fmla="*/ 141 h 6867508"/>
              <a:gd name="connsiteX1" fmla="*/ 4578245 w 9204404"/>
              <a:gd name="connsiteY1" fmla="*/ 0 h 6867508"/>
              <a:gd name="connsiteX2" fmla="*/ 9045470 w 9204404"/>
              <a:gd name="connsiteY2" fmla="*/ 2381 h 6867508"/>
              <a:gd name="connsiteX3" fmla="*/ 9050232 w 9204404"/>
              <a:gd name="connsiteY3" fmla="*/ 109537 h 6867508"/>
              <a:gd name="connsiteX4" fmla="*/ 6949969 w 9204404"/>
              <a:gd name="connsiteY4" fmla="*/ 109537 h 6867508"/>
              <a:gd name="connsiteX5" fmla="*/ 6949969 w 9204404"/>
              <a:gd name="connsiteY5" fmla="*/ 1057275 h 6867508"/>
              <a:gd name="connsiteX6" fmla="*/ 9050233 w 9204404"/>
              <a:gd name="connsiteY6" fmla="*/ 1057275 h 6867508"/>
              <a:gd name="connsiteX7" fmla="*/ 9045470 w 9204404"/>
              <a:gd name="connsiteY7" fmla="*/ 2381 h 6867508"/>
              <a:gd name="connsiteX8" fmla="*/ 9150235 w 9204404"/>
              <a:gd name="connsiteY8" fmla="*/ 141 h 6867508"/>
              <a:gd name="connsiteX9" fmla="*/ 9150246 w 9204404"/>
              <a:gd name="connsiteY9" fmla="*/ 6862762 h 6867508"/>
              <a:gd name="connsiteX10" fmla="*/ 0 w 9204404"/>
              <a:gd name="connsiteY10" fmla="*/ 6867508 h 6867508"/>
              <a:gd name="connsiteX11" fmla="*/ 6255 w 9204404"/>
              <a:gd name="connsiteY11" fmla="*/ 141 h 6867508"/>
              <a:gd name="connsiteX0" fmla="*/ 6255 w 9204404"/>
              <a:gd name="connsiteY0" fmla="*/ 141 h 6867508"/>
              <a:gd name="connsiteX1" fmla="*/ 4578245 w 9204404"/>
              <a:gd name="connsiteY1" fmla="*/ 0 h 6867508"/>
              <a:gd name="connsiteX2" fmla="*/ 9045470 w 9204404"/>
              <a:gd name="connsiteY2" fmla="*/ 2381 h 6867508"/>
              <a:gd name="connsiteX3" fmla="*/ 9050232 w 9204404"/>
              <a:gd name="connsiteY3" fmla="*/ 109537 h 6867508"/>
              <a:gd name="connsiteX4" fmla="*/ 6949969 w 9204404"/>
              <a:gd name="connsiteY4" fmla="*/ 109537 h 6867508"/>
              <a:gd name="connsiteX5" fmla="*/ 6949969 w 9204404"/>
              <a:gd name="connsiteY5" fmla="*/ 1057275 h 6867508"/>
              <a:gd name="connsiteX6" fmla="*/ 9050233 w 9204404"/>
              <a:gd name="connsiteY6" fmla="*/ 1057275 h 6867508"/>
              <a:gd name="connsiteX7" fmla="*/ 9045470 w 9204404"/>
              <a:gd name="connsiteY7" fmla="*/ 2381 h 6867508"/>
              <a:gd name="connsiteX8" fmla="*/ 9150235 w 9204404"/>
              <a:gd name="connsiteY8" fmla="*/ 141 h 6867508"/>
              <a:gd name="connsiteX9" fmla="*/ 9150246 w 9204404"/>
              <a:gd name="connsiteY9" fmla="*/ 6862762 h 6867508"/>
              <a:gd name="connsiteX10" fmla="*/ 0 w 9204404"/>
              <a:gd name="connsiteY10" fmla="*/ 6867508 h 6867508"/>
              <a:gd name="connsiteX11" fmla="*/ 6255 w 9204404"/>
              <a:gd name="connsiteY11" fmla="*/ 141 h 6867508"/>
              <a:gd name="connsiteX0" fmla="*/ 6255 w 9204404"/>
              <a:gd name="connsiteY0" fmla="*/ 141 h 6867508"/>
              <a:gd name="connsiteX1" fmla="*/ 4578245 w 9204404"/>
              <a:gd name="connsiteY1" fmla="*/ 0 h 6867508"/>
              <a:gd name="connsiteX2" fmla="*/ 9045470 w 9204404"/>
              <a:gd name="connsiteY2" fmla="*/ 2381 h 6867508"/>
              <a:gd name="connsiteX3" fmla="*/ 9050232 w 9204404"/>
              <a:gd name="connsiteY3" fmla="*/ 109537 h 6867508"/>
              <a:gd name="connsiteX4" fmla="*/ 6949969 w 9204404"/>
              <a:gd name="connsiteY4" fmla="*/ 109537 h 6867508"/>
              <a:gd name="connsiteX5" fmla="*/ 6949969 w 9204404"/>
              <a:gd name="connsiteY5" fmla="*/ 1057275 h 6867508"/>
              <a:gd name="connsiteX6" fmla="*/ 9050233 w 9204404"/>
              <a:gd name="connsiteY6" fmla="*/ 1057275 h 6867508"/>
              <a:gd name="connsiteX7" fmla="*/ 9045470 w 9204404"/>
              <a:gd name="connsiteY7" fmla="*/ 2381 h 6867508"/>
              <a:gd name="connsiteX8" fmla="*/ 9150235 w 9204404"/>
              <a:gd name="connsiteY8" fmla="*/ 141 h 6867508"/>
              <a:gd name="connsiteX9" fmla="*/ 9150246 w 9204404"/>
              <a:gd name="connsiteY9" fmla="*/ 6862762 h 6867508"/>
              <a:gd name="connsiteX10" fmla="*/ 0 w 9204404"/>
              <a:gd name="connsiteY10" fmla="*/ 6867508 h 6867508"/>
              <a:gd name="connsiteX11" fmla="*/ 6255 w 9204404"/>
              <a:gd name="connsiteY11" fmla="*/ 141 h 6867508"/>
              <a:gd name="connsiteX0" fmla="*/ 6255 w 9204404"/>
              <a:gd name="connsiteY0" fmla="*/ 141 h 6867508"/>
              <a:gd name="connsiteX1" fmla="*/ 4578245 w 9204404"/>
              <a:gd name="connsiteY1" fmla="*/ 0 h 6867508"/>
              <a:gd name="connsiteX2" fmla="*/ 9045470 w 9204404"/>
              <a:gd name="connsiteY2" fmla="*/ 2381 h 6867508"/>
              <a:gd name="connsiteX3" fmla="*/ 8995463 w 9204404"/>
              <a:gd name="connsiteY3" fmla="*/ 80962 h 6867508"/>
              <a:gd name="connsiteX4" fmla="*/ 6949969 w 9204404"/>
              <a:gd name="connsiteY4" fmla="*/ 109537 h 6867508"/>
              <a:gd name="connsiteX5" fmla="*/ 6949969 w 9204404"/>
              <a:gd name="connsiteY5" fmla="*/ 1057275 h 6867508"/>
              <a:gd name="connsiteX6" fmla="*/ 9050233 w 9204404"/>
              <a:gd name="connsiteY6" fmla="*/ 1057275 h 6867508"/>
              <a:gd name="connsiteX7" fmla="*/ 9045470 w 9204404"/>
              <a:gd name="connsiteY7" fmla="*/ 2381 h 6867508"/>
              <a:gd name="connsiteX8" fmla="*/ 9150235 w 9204404"/>
              <a:gd name="connsiteY8" fmla="*/ 141 h 6867508"/>
              <a:gd name="connsiteX9" fmla="*/ 9150246 w 9204404"/>
              <a:gd name="connsiteY9" fmla="*/ 6862762 h 6867508"/>
              <a:gd name="connsiteX10" fmla="*/ 0 w 9204404"/>
              <a:gd name="connsiteY10" fmla="*/ 6867508 h 6867508"/>
              <a:gd name="connsiteX11" fmla="*/ 6255 w 9204404"/>
              <a:gd name="connsiteY11" fmla="*/ 141 h 6867508"/>
              <a:gd name="connsiteX0" fmla="*/ 6255 w 9205631"/>
              <a:gd name="connsiteY0" fmla="*/ 142 h 6867509"/>
              <a:gd name="connsiteX1" fmla="*/ 4578245 w 9205631"/>
              <a:gd name="connsiteY1" fmla="*/ 1 h 6867509"/>
              <a:gd name="connsiteX2" fmla="*/ 9045470 w 9205631"/>
              <a:gd name="connsiteY2" fmla="*/ 2382 h 6867509"/>
              <a:gd name="connsiteX3" fmla="*/ 8995463 w 9205631"/>
              <a:gd name="connsiteY3" fmla="*/ 80963 h 6867509"/>
              <a:gd name="connsiteX4" fmla="*/ 6949969 w 9205631"/>
              <a:gd name="connsiteY4" fmla="*/ 109538 h 6867509"/>
              <a:gd name="connsiteX5" fmla="*/ 6949969 w 9205631"/>
              <a:gd name="connsiteY5" fmla="*/ 1057276 h 6867509"/>
              <a:gd name="connsiteX6" fmla="*/ 9050233 w 9205631"/>
              <a:gd name="connsiteY6" fmla="*/ 1057276 h 6867509"/>
              <a:gd name="connsiteX7" fmla="*/ 9050232 w 9205631"/>
              <a:gd name="connsiteY7" fmla="*/ 0 h 6867509"/>
              <a:gd name="connsiteX8" fmla="*/ 9150235 w 9205631"/>
              <a:gd name="connsiteY8" fmla="*/ 142 h 6867509"/>
              <a:gd name="connsiteX9" fmla="*/ 9150246 w 9205631"/>
              <a:gd name="connsiteY9" fmla="*/ 6862763 h 6867509"/>
              <a:gd name="connsiteX10" fmla="*/ 0 w 9205631"/>
              <a:gd name="connsiteY10" fmla="*/ 6867509 h 6867509"/>
              <a:gd name="connsiteX11" fmla="*/ 6255 w 9205631"/>
              <a:gd name="connsiteY11" fmla="*/ 142 h 6867509"/>
              <a:gd name="connsiteX0" fmla="*/ 6255 w 9211483"/>
              <a:gd name="connsiteY0" fmla="*/ 142 h 6867509"/>
              <a:gd name="connsiteX1" fmla="*/ 4578245 w 9211483"/>
              <a:gd name="connsiteY1" fmla="*/ 1 h 6867509"/>
              <a:gd name="connsiteX2" fmla="*/ 9045470 w 9211483"/>
              <a:gd name="connsiteY2" fmla="*/ 2382 h 6867509"/>
              <a:gd name="connsiteX3" fmla="*/ 8995463 w 9211483"/>
              <a:gd name="connsiteY3" fmla="*/ 80963 h 6867509"/>
              <a:gd name="connsiteX4" fmla="*/ 6949969 w 9211483"/>
              <a:gd name="connsiteY4" fmla="*/ 109538 h 6867509"/>
              <a:gd name="connsiteX5" fmla="*/ 6949969 w 9211483"/>
              <a:gd name="connsiteY5" fmla="*/ 1057276 h 6867509"/>
              <a:gd name="connsiteX6" fmla="*/ 9050233 w 9211483"/>
              <a:gd name="connsiteY6" fmla="*/ 1057276 h 6867509"/>
              <a:gd name="connsiteX7" fmla="*/ 9066901 w 9211483"/>
              <a:gd name="connsiteY7" fmla="*/ 147640 h 6867509"/>
              <a:gd name="connsiteX8" fmla="*/ 9050232 w 9211483"/>
              <a:gd name="connsiteY8" fmla="*/ 0 h 6867509"/>
              <a:gd name="connsiteX9" fmla="*/ 9150235 w 9211483"/>
              <a:gd name="connsiteY9" fmla="*/ 142 h 6867509"/>
              <a:gd name="connsiteX10" fmla="*/ 9150246 w 9211483"/>
              <a:gd name="connsiteY10" fmla="*/ 6862763 h 6867509"/>
              <a:gd name="connsiteX11" fmla="*/ 0 w 9211483"/>
              <a:gd name="connsiteY11" fmla="*/ 6867509 h 6867509"/>
              <a:gd name="connsiteX12" fmla="*/ 6255 w 9211483"/>
              <a:gd name="connsiteY12" fmla="*/ 142 h 6867509"/>
              <a:gd name="connsiteX0" fmla="*/ 6255 w 9209558"/>
              <a:gd name="connsiteY0" fmla="*/ 142 h 6867509"/>
              <a:gd name="connsiteX1" fmla="*/ 4578245 w 9209558"/>
              <a:gd name="connsiteY1" fmla="*/ 1 h 6867509"/>
              <a:gd name="connsiteX2" fmla="*/ 9045470 w 9209558"/>
              <a:gd name="connsiteY2" fmla="*/ 2382 h 6867509"/>
              <a:gd name="connsiteX3" fmla="*/ 8995463 w 9209558"/>
              <a:gd name="connsiteY3" fmla="*/ 80963 h 6867509"/>
              <a:gd name="connsiteX4" fmla="*/ 6949969 w 9209558"/>
              <a:gd name="connsiteY4" fmla="*/ 109538 h 6867509"/>
              <a:gd name="connsiteX5" fmla="*/ 6949969 w 9209558"/>
              <a:gd name="connsiteY5" fmla="*/ 1057276 h 6867509"/>
              <a:gd name="connsiteX6" fmla="*/ 9050233 w 9209558"/>
              <a:gd name="connsiteY6" fmla="*/ 1057276 h 6867509"/>
              <a:gd name="connsiteX7" fmla="*/ 9066901 w 9209558"/>
              <a:gd name="connsiteY7" fmla="*/ 147640 h 6867509"/>
              <a:gd name="connsiteX8" fmla="*/ 9050232 w 9209558"/>
              <a:gd name="connsiteY8" fmla="*/ 0 h 6867509"/>
              <a:gd name="connsiteX9" fmla="*/ 9150235 w 9209558"/>
              <a:gd name="connsiteY9" fmla="*/ 142 h 6867509"/>
              <a:gd name="connsiteX10" fmla="*/ 9150246 w 9209558"/>
              <a:gd name="connsiteY10" fmla="*/ 6862763 h 6867509"/>
              <a:gd name="connsiteX11" fmla="*/ 0 w 9209558"/>
              <a:gd name="connsiteY11" fmla="*/ 6867509 h 6867509"/>
              <a:gd name="connsiteX12" fmla="*/ 6255 w 9209558"/>
              <a:gd name="connsiteY12" fmla="*/ 142 h 6867509"/>
              <a:gd name="connsiteX0" fmla="*/ 6255 w 9209558"/>
              <a:gd name="connsiteY0" fmla="*/ 142 h 6867509"/>
              <a:gd name="connsiteX1" fmla="*/ 4578245 w 9209558"/>
              <a:gd name="connsiteY1" fmla="*/ 1 h 6867509"/>
              <a:gd name="connsiteX2" fmla="*/ 9045470 w 9209558"/>
              <a:gd name="connsiteY2" fmla="*/ 2382 h 6867509"/>
              <a:gd name="connsiteX3" fmla="*/ 8995463 w 9209558"/>
              <a:gd name="connsiteY3" fmla="*/ 80963 h 6867509"/>
              <a:gd name="connsiteX4" fmla="*/ 6949969 w 9209558"/>
              <a:gd name="connsiteY4" fmla="*/ 109538 h 6867509"/>
              <a:gd name="connsiteX5" fmla="*/ 6949969 w 9209558"/>
              <a:gd name="connsiteY5" fmla="*/ 1057276 h 6867509"/>
              <a:gd name="connsiteX6" fmla="*/ 9050233 w 9209558"/>
              <a:gd name="connsiteY6" fmla="*/ 1057276 h 6867509"/>
              <a:gd name="connsiteX7" fmla="*/ 9066901 w 9209558"/>
              <a:gd name="connsiteY7" fmla="*/ 147640 h 6867509"/>
              <a:gd name="connsiteX8" fmla="*/ 9050232 w 9209558"/>
              <a:gd name="connsiteY8" fmla="*/ 0 h 6867509"/>
              <a:gd name="connsiteX9" fmla="*/ 9150235 w 9209558"/>
              <a:gd name="connsiteY9" fmla="*/ 142 h 6867509"/>
              <a:gd name="connsiteX10" fmla="*/ 9150246 w 9209558"/>
              <a:gd name="connsiteY10" fmla="*/ 6862763 h 6867509"/>
              <a:gd name="connsiteX11" fmla="*/ 0 w 9209558"/>
              <a:gd name="connsiteY11" fmla="*/ 6867509 h 6867509"/>
              <a:gd name="connsiteX12" fmla="*/ 6255 w 9209558"/>
              <a:gd name="connsiteY12" fmla="*/ 142 h 6867509"/>
              <a:gd name="connsiteX0" fmla="*/ 6255 w 9209558"/>
              <a:gd name="connsiteY0" fmla="*/ 142 h 6867509"/>
              <a:gd name="connsiteX1" fmla="*/ 4578245 w 9209558"/>
              <a:gd name="connsiteY1" fmla="*/ 1 h 6867509"/>
              <a:gd name="connsiteX2" fmla="*/ 9045470 w 9209558"/>
              <a:gd name="connsiteY2" fmla="*/ 2382 h 6867509"/>
              <a:gd name="connsiteX3" fmla="*/ 8995463 w 9209558"/>
              <a:gd name="connsiteY3" fmla="*/ 80963 h 6867509"/>
              <a:gd name="connsiteX4" fmla="*/ 6949969 w 9209558"/>
              <a:gd name="connsiteY4" fmla="*/ 109538 h 6867509"/>
              <a:gd name="connsiteX5" fmla="*/ 6949969 w 9209558"/>
              <a:gd name="connsiteY5" fmla="*/ 1057276 h 6867509"/>
              <a:gd name="connsiteX6" fmla="*/ 9050233 w 9209558"/>
              <a:gd name="connsiteY6" fmla="*/ 1057276 h 6867509"/>
              <a:gd name="connsiteX7" fmla="*/ 9066901 w 9209558"/>
              <a:gd name="connsiteY7" fmla="*/ 147640 h 6867509"/>
              <a:gd name="connsiteX8" fmla="*/ 9050232 w 9209558"/>
              <a:gd name="connsiteY8" fmla="*/ 0 h 6867509"/>
              <a:gd name="connsiteX9" fmla="*/ 9150235 w 9209558"/>
              <a:gd name="connsiteY9" fmla="*/ 142 h 6867509"/>
              <a:gd name="connsiteX10" fmla="*/ 9150246 w 9209558"/>
              <a:gd name="connsiteY10" fmla="*/ 6862763 h 6867509"/>
              <a:gd name="connsiteX11" fmla="*/ 0 w 9209558"/>
              <a:gd name="connsiteY11" fmla="*/ 6867509 h 6867509"/>
              <a:gd name="connsiteX12" fmla="*/ 6255 w 9209558"/>
              <a:gd name="connsiteY12" fmla="*/ 142 h 6867509"/>
              <a:gd name="connsiteX0" fmla="*/ 6255 w 9209558"/>
              <a:gd name="connsiteY0" fmla="*/ 142 h 6867509"/>
              <a:gd name="connsiteX1" fmla="*/ 4578245 w 9209558"/>
              <a:gd name="connsiteY1" fmla="*/ 1 h 6867509"/>
              <a:gd name="connsiteX2" fmla="*/ 9045470 w 9209558"/>
              <a:gd name="connsiteY2" fmla="*/ 2382 h 6867509"/>
              <a:gd name="connsiteX3" fmla="*/ 8995463 w 9209558"/>
              <a:gd name="connsiteY3" fmla="*/ 80963 h 6867509"/>
              <a:gd name="connsiteX4" fmla="*/ 6949969 w 9209558"/>
              <a:gd name="connsiteY4" fmla="*/ 109538 h 6867509"/>
              <a:gd name="connsiteX5" fmla="*/ 6949969 w 9209558"/>
              <a:gd name="connsiteY5" fmla="*/ 1057276 h 6867509"/>
              <a:gd name="connsiteX6" fmla="*/ 9050233 w 9209558"/>
              <a:gd name="connsiteY6" fmla="*/ 1057276 h 6867509"/>
              <a:gd name="connsiteX7" fmla="*/ 9066901 w 9209558"/>
              <a:gd name="connsiteY7" fmla="*/ 147640 h 6867509"/>
              <a:gd name="connsiteX8" fmla="*/ 9050232 w 9209558"/>
              <a:gd name="connsiteY8" fmla="*/ 0 h 6867509"/>
              <a:gd name="connsiteX9" fmla="*/ 9150235 w 9209558"/>
              <a:gd name="connsiteY9" fmla="*/ 142 h 6867509"/>
              <a:gd name="connsiteX10" fmla="*/ 9150246 w 9209558"/>
              <a:gd name="connsiteY10" fmla="*/ 6862763 h 6867509"/>
              <a:gd name="connsiteX11" fmla="*/ 0 w 9209558"/>
              <a:gd name="connsiteY11" fmla="*/ 6867509 h 6867509"/>
              <a:gd name="connsiteX12" fmla="*/ 6255 w 9209558"/>
              <a:gd name="connsiteY12" fmla="*/ 142 h 6867509"/>
              <a:gd name="connsiteX0" fmla="*/ 6255 w 9205207"/>
              <a:gd name="connsiteY0" fmla="*/ 142 h 6867509"/>
              <a:gd name="connsiteX1" fmla="*/ 4578245 w 9205207"/>
              <a:gd name="connsiteY1" fmla="*/ 1 h 6867509"/>
              <a:gd name="connsiteX2" fmla="*/ 9045470 w 9205207"/>
              <a:gd name="connsiteY2" fmla="*/ 2382 h 6867509"/>
              <a:gd name="connsiteX3" fmla="*/ 8995463 w 9205207"/>
              <a:gd name="connsiteY3" fmla="*/ 80963 h 6867509"/>
              <a:gd name="connsiteX4" fmla="*/ 6949969 w 9205207"/>
              <a:gd name="connsiteY4" fmla="*/ 109538 h 6867509"/>
              <a:gd name="connsiteX5" fmla="*/ 6949969 w 9205207"/>
              <a:gd name="connsiteY5" fmla="*/ 1057276 h 6867509"/>
              <a:gd name="connsiteX6" fmla="*/ 9050233 w 9205207"/>
              <a:gd name="connsiteY6" fmla="*/ 1057276 h 6867509"/>
              <a:gd name="connsiteX7" fmla="*/ 9050233 w 9205207"/>
              <a:gd name="connsiteY7" fmla="*/ 109540 h 6867509"/>
              <a:gd name="connsiteX8" fmla="*/ 9050232 w 9205207"/>
              <a:gd name="connsiteY8" fmla="*/ 0 h 6867509"/>
              <a:gd name="connsiteX9" fmla="*/ 9150235 w 9205207"/>
              <a:gd name="connsiteY9" fmla="*/ 142 h 6867509"/>
              <a:gd name="connsiteX10" fmla="*/ 9150246 w 9205207"/>
              <a:gd name="connsiteY10" fmla="*/ 6862763 h 6867509"/>
              <a:gd name="connsiteX11" fmla="*/ 0 w 9205207"/>
              <a:gd name="connsiteY11" fmla="*/ 6867509 h 6867509"/>
              <a:gd name="connsiteX12" fmla="*/ 6255 w 9205207"/>
              <a:gd name="connsiteY12" fmla="*/ 142 h 6867509"/>
              <a:gd name="connsiteX0" fmla="*/ 6255 w 9225698"/>
              <a:gd name="connsiteY0" fmla="*/ 142 h 6867509"/>
              <a:gd name="connsiteX1" fmla="*/ 4578245 w 9225698"/>
              <a:gd name="connsiteY1" fmla="*/ 1 h 6867509"/>
              <a:gd name="connsiteX2" fmla="*/ 9045470 w 9225698"/>
              <a:gd name="connsiteY2" fmla="*/ 2382 h 6867509"/>
              <a:gd name="connsiteX3" fmla="*/ 8995463 w 9225698"/>
              <a:gd name="connsiteY3" fmla="*/ 80963 h 6867509"/>
              <a:gd name="connsiteX4" fmla="*/ 6949969 w 9225698"/>
              <a:gd name="connsiteY4" fmla="*/ 109538 h 6867509"/>
              <a:gd name="connsiteX5" fmla="*/ 6949969 w 9225698"/>
              <a:gd name="connsiteY5" fmla="*/ 1057276 h 6867509"/>
              <a:gd name="connsiteX6" fmla="*/ 9050233 w 9225698"/>
              <a:gd name="connsiteY6" fmla="*/ 1057276 h 6867509"/>
              <a:gd name="connsiteX7" fmla="*/ 9050233 w 9225698"/>
              <a:gd name="connsiteY7" fmla="*/ 109540 h 6867509"/>
              <a:gd name="connsiteX8" fmla="*/ 9050232 w 9225698"/>
              <a:gd name="connsiteY8" fmla="*/ 0 h 6867509"/>
              <a:gd name="connsiteX9" fmla="*/ 9150235 w 9225698"/>
              <a:gd name="connsiteY9" fmla="*/ 142 h 6867509"/>
              <a:gd name="connsiteX10" fmla="*/ 9150246 w 9225698"/>
              <a:gd name="connsiteY10" fmla="*/ 6862763 h 6867509"/>
              <a:gd name="connsiteX11" fmla="*/ 0 w 9225698"/>
              <a:gd name="connsiteY11" fmla="*/ 6867509 h 6867509"/>
              <a:gd name="connsiteX12" fmla="*/ 6255 w 9225698"/>
              <a:gd name="connsiteY12" fmla="*/ 142 h 6867509"/>
              <a:gd name="connsiteX0" fmla="*/ 6255 w 9225698"/>
              <a:gd name="connsiteY0" fmla="*/ 141 h 6867508"/>
              <a:gd name="connsiteX1" fmla="*/ 4578245 w 9225698"/>
              <a:gd name="connsiteY1" fmla="*/ 0 h 6867508"/>
              <a:gd name="connsiteX2" fmla="*/ 9045470 w 9225698"/>
              <a:gd name="connsiteY2" fmla="*/ 2381 h 6867508"/>
              <a:gd name="connsiteX3" fmla="*/ 8995463 w 9225698"/>
              <a:gd name="connsiteY3" fmla="*/ 80962 h 6867508"/>
              <a:gd name="connsiteX4" fmla="*/ 6949969 w 9225698"/>
              <a:gd name="connsiteY4" fmla="*/ 109537 h 6867508"/>
              <a:gd name="connsiteX5" fmla="*/ 6949969 w 9225698"/>
              <a:gd name="connsiteY5" fmla="*/ 1057275 h 6867508"/>
              <a:gd name="connsiteX6" fmla="*/ 9050233 w 9225698"/>
              <a:gd name="connsiteY6" fmla="*/ 1057275 h 6867508"/>
              <a:gd name="connsiteX7" fmla="*/ 9050233 w 9225698"/>
              <a:gd name="connsiteY7" fmla="*/ 109539 h 6867508"/>
              <a:gd name="connsiteX8" fmla="*/ 9088332 w 9225698"/>
              <a:gd name="connsiteY8" fmla="*/ 2380 h 6867508"/>
              <a:gd name="connsiteX9" fmla="*/ 9150235 w 9225698"/>
              <a:gd name="connsiteY9" fmla="*/ 141 h 6867508"/>
              <a:gd name="connsiteX10" fmla="*/ 9150246 w 9225698"/>
              <a:gd name="connsiteY10" fmla="*/ 6862762 h 6867508"/>
              <a:gd name="connsiteX11" fmla="*/ 0 w 9225698"/>
              <a:gd name="connsiteY11" fmla="*/ 6867508 h 6867508"/>
              <a:gd name="connsiteX12" fmla="*/ 6255 w 9225698"/>
              <a:gd name="connsiteY12" fmla="*/ 141 h 6867508"/>
              <a:gd name="connsiteX0" fmla="*/ 6255 w 9225698"/>
              <a:gd name="connsiteY0" fmla="*/ 142 h 6867509"/>
              <a:gd name="connsiteX1" fmla="*/ 4578245 w 9225698"/>
              <a:gd name="connsiteY1" fmla="*/ 1 h 6867509"/>
              <a:gd name="connsiteX2" fmla="*/ 9045470 w 9225698"/>
              <a:gd name="connsiteY2" fmla="*/ 2382 h 6867509"/>
              <a:gd name="connsiteX3" fmla="*/ 8995463 w 9225698"/>
              <a:gd name="connsiteY3" fmla="*/ 80963 h 6867509"/>
              <a:gd name="connsiteX4" fmla="*/ 6949969 w 9225698"/>
              <a:gd name="connsiteY4" fmla="*/ 109538 h 6867509"/>
              <a:gd name="connsiteX5" fmla="*/ 6949969 w 9225698"/>
              <a:gd name="connsiteY5" fmla="*/ 1057276 h 6867509"/>
              <a:gd name="connsiteX6" fmla="*/ 9050233 w 9225698"/>
              <a:gd name="connsiteY6" fmla="*/ 1057276 h 6867509"/>
              <a:gd name="connsiteX7" fmla="*/ 9050233 w 9225698"/>
              <a:gd name="connsiteY7" fmla="*/ 109540 h 6867509"/>
              <a:gd name="connsiteX8" fmla="*/ 9052613 w 9225698"/>
              <a:gd name="connsiteY8" fmla="*/ 0 h 6867509"/>
              <a:gd name="connsiteX9" fmla="*/ 9150235 w 9225698"/>
              <a:gd name="connsiteY9" fmla="*/ 142 h 6867509"/>
              <a:gd name="connsiteX10" fmla="*/ 9150246 w 9225698"/>
              <a:gd name="connsiteY10" fmla="*/ 6862763 h 6867509"/>
              <a:gd name="connsiteX11" fmla="*/ 0 w 9225698"/>
              <a:gd name="connsiteY11" fmla="*/ 6867509 h 6867509"/>
              <a:gd name="connsiteX12" fmla="*/ 6255 w 9225698"/>
              <a:gd name="connsiteY12" fmla="*/ 142 h 6867509"/>
              <a:gd name="connsiteX0" fmla="*/ 6255 w 9225698"/>
              <a:gd name="connsiteY0" fmla="*/ 142 h 6867509"/>
              <a:gd name="connsiteX1" fmla="*/ 4578245 w 9225698"/>
              <a:gd name="connsiteY1" fmla="*/ 1 h 6867509"/>
              <a:gd name="connsiteX2" fmla="*/ 9045470 w 9225698"/>
              <a:gd name="connsiteY2" fmla="*/ 2382 h 6867509"/>
              <a:gd name="connsiteX3" fmla="*/ 8995463 w 9225698"/>
              <a:gd name="connsiteY3" fmla="*/ 80963 h 6867509"/>
              <a:gd name="connsiteX4" fmla="*/ 6949969 w 9225698"/>
              <a:gd name="connsiteY4" fmla="*/ 109538 h 6867509"/>
              <a:gd name="connsiteX5" fmla="*/ 6949969 w 9225698"/>
              <a:gd name="connsiteY5" fmla="*/ 1057276 h 6867509"/>
              <a:gd name="connsiteX6" fmla="*/ 9050233 w 9225698"/>
              <a:gd name="connsiteY6" fmla="*/ 1057276 h 6867509"/>
              <a:gd name="connsiteX7" fmla="*/ 9050233 w 9225698"/>
              <a:gd name="connsiteY7" fmla="*/ 109540 h 6867509"/>
              <a:gd name="connsiteX8" fmla="*/ 9052613 w 9225698"/>
              <a:gd name="connsiteY8" fmla="*/ 0 h 6867509"/>
              <a:gd name="connsiteX9" fmla="*/ 9150235 w 9225698"/>
              <a:gd name="connsiteY9" fmla="*/ 142 h 6867509"/>
              <a:gd name="connsiteX10" fmla="*/ 9150246 w 9225698"/>
              <a:gd name="connsiteY10" fmla="*/ 6862763 h 6867509"/>
              <a:gd name="connsiteX11" fmla="*/ 0 w 9225698"/>
              <a:gd name="connsiteY11" fmla="*/ 6867509 h 6867509"/>
              <a:gd name="connsiteX12" fmla="*/ 6255 w 9225698"/>
              <a:gd name="connsiteY12" fmla="*/ 142 h 6867509"/>
              <a:gd name="connsiteX0" fmla="*/ 6255 w 9225698"/>
              <a:gd name="connsiteY0" fmla="*/ 142 h 6867509"/>
              <a:gd name="connsiteX1" fmla="*/ 4578245 w 9225698"/>
              <a:gd name="connsiteY1" fmla="*/ 1 h 6867509"/>
              <a:gd name="connsiteX2" fmla="*/ 9045470 w 9225698"/>
              <a:gd name="connsiteY2" fmla="*/ 2382 h 6867509"/>
              <a:gd name="connsiteX3" fmla="*/ 8995463 w 9225698"/>
              <a:gd name="connsiteY3" fmla="*/ 80963 h 6867509"/>
              <a:gd name="connsiteX4" fmla="*/ 6949969 w 9225698"/>
              <a:gd name="connsiteY4" fmla="*/ 109538 h 6867509"/>
              <a:gd name="connsiteX5" fmla="*/ 6949969 w 9225698"/>
              <a:gd name="connsiteY5" fmla="*/ 1057276 h 6867509"/>
              <a:gd name="connsiteX6" fmla="*/ 9050233 w 9225698"/>
              <a:gd name="connsiteY6" fmla="*/ 1057276 h 6867509"/>
              <a:gd name="connsiteX7" fmla="*/ 9050233 w 9225698"/>
              <a:gd name="connsiteY7" fmla="*/ 109540 h 6867509"/>
              <a:gd name="connsiteX8" fmla="*/ 9050232 w 9225698"/>
              <a:gd name="connsiteY8" fmla="*/ 0 h 6867509"/>
              <a:gd name="connsiteX9" fmla="*/ 9150235 w 9225698"/>
              <a:gd name="connsiteY9" fmla="*/ 142 h 6867509"/>
              <a:gd name="connsiteX10" fmla="*/ 9150246 w 9225698"/>
              <a:gd name="connsiteY10" fmla="*/ 6862763 h 6867509"/>
              <a:gd name="connsiteX11" fmla="*/ 0 w 9225698"/>
              <a:gd name="connsiteY11" fmla="*/ 6867509 h 6867509"/>
              <a:gd name="connsiteX12" fmla="*/ 6255 w 9225698"/>
              <a:gd name="connsiteY12" fmla="*/ 142 h 6867509"/>
              <a:gd name="connsiteX0" fmla="*/ 6255 w 9225698"/>
              <a:gd name="connsiteY0" fmla="*/ 142 h 6867509"/>
              <a:gd name="connsiteX1" fmla="*/ 4578245 w 9225698"/>
              <a:gd name="connsiteY1" fmla="*/ 1 h 6867509"/>
              <a:gd name="connsiteX2" fmla="*/ 9045470 w 9225698"/>
              <a:gd name="connsiteY2" fmla="*/ 2382 h 6867509"/>
              <a:gd name="connsiteX3" fmla="*/ 8995463 w 9225698"/>
              <a:gd name="connsiteY3" fmla="*/ 80963 h 6867509"/>
              <a:gd name="connsiteX4" fmla="*/ 6949969 w 9225698"/>
              <a:gd name="connsiteY4" fmla="*/ 109538 h 6867509"/>
              <a:gd name="connsiteX5" fmla="*/ 6949969 w 9225698"/>
              <a:gd name="connsiteY5" fmla="*/ 1057276 h 6867509"/>
              <a:gd name="connsiteX6" fmla="*/ 9050233 w 9225698"/>
              <a:gd name="connsiteY6" fmla="*/ 1057276 h 6867509"/>
              <a:gd name="connsiteX7" fmla="*/ 9050233 w 9225698"/>
              <a:gd name="connsiteY7" fmla="*/ 111922 h 6867509"/>
              <a:gd name="connsiteX8" fmla="*/ 9050232 w 9225698"/>
              <a:gd name="connsiteY8" fmla="*/ 0 h 6867509"/>
              <a:gd name="connsiteX9" fmla="*/ 9150235 w 9225698"/>
              <a:gd name="connsiteY9" fmla="*/ 142 h 6867509"/>
              <a:gd name="connsiteX10" fmla="*/ 9150246 w 9225698"/>
              <a:gd name="connsiteY10" fmla="*/ 6862763 h 6867509"/>
              <a:gd name="connsiteX11" fmla="*/ 0 w 9225698"/>
              <a:gd name="connsiteY11" fmla="*/ 6867509 h 6867509"/>
              <a:gd name="connsiteX12" fmla="*/ 6255 w 9225698"/>
              <a:gd name="connsiteY12" fmla="*/ 142 h 6867509"/>
              <a:gd name="connsiteX0" fmla="*/ 6255 w 9206778"/>
              <a:gd name="connsiteY0" fmla="*/ 142 h 6867509"/>
              <a:gd name="connsiteX1" fmla="*/ 4578245 w 9206778"/>
              <a:gd name="connsiteY1" fmla="*/ 1 h 6867509"/>
              <a:gd name="connsiteX2" fmla="*/ 9045470 w 9206778"/>
              <a:gd name="connsiteY2" fmla="*/ 2382 h 6867509"/>
              <a:gd name="connsiteX3" fmla="*/ 8995463 w 9206778"/>
              <a:gd name="connsiteY3" fmla="*/ 80963 h 6867509"/>
              <a:gd name="connsiteX4" fmla="*/ 6949969 w 9206778"/>
              <a:gd name="connsiteY4" fmla="*/ 109538 h 6867509"/>
              <a:gd name="connsiteX5" fmla="*/ 6949969 w 9206778"/>
              <a:gd name="connsiteY5" fmla="*/ 1057276 h 6867509"/>
              <a:gd name="connsiteX6" fmla="*/ 9050233 w 9206778"/>
              <a:gd name="connsiteY6" fmla="*/ 1057276 h 6867509"/>
              <a:gd name="connsiteX7" fmla="*/ 9050233 w 9206778"/>
              <a:gd name="connsiteY7" fmla="*/ 111922 h 6867509"/>
              <a:gd name="connsiteX8" fmla="*/ 9050232 w 9206778"/>
              <a:gd name="connsiteY8" fmla="*/ 0 h 6867509"/>
              <a:gd name="connsiteX9" fmla="*/ 9150235 w 9206778"/>
              <a:gd name="connsiteY9" fmla="*/ 142 h 6867509"/>
              <a:gd name="connsiteX10" fmla="*/ 9150246 w 9206778"/>
              <a:gd name="connsiteY10" fmla="*/ 6862763 h 6867509"/>
              <a:gd name="connsiteX11" fmla="*/ 0 w 9206778"/>
              <a:gd name="connsiteY11" fmla="*/ 6867509 h 6867509"/>
              <a:gd name="connsiteX12" fmla="*/ 6255 w 9206778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45470 w 9150246"/>
              <a:gd name="connsiteY2" fmla="*/ 2382 h 6867509"/>
              <a:gd name="connsiteX3" fmla="*/ 8995463 w 9150246"/>
              <a:gd name="connsiteY3" fmla="*/ 80963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50232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45470 w 9150246"/>
              <a:gd name="connsiteY2" fmla="*/ 2382 h 6867509"/>
              <a:gd name="connsiteX3" fmla="*/ 8995463 w 9150246"/>
              <a:gd name="connsiteY3" fmla="*/ 80963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50232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45470 w 9150246"/>
              <a:gd name="connsiteY2" fmla="*/ 2382 h 6867509"/>
              <a:gd name="connsiteX3" fmla="*/ 9004988 w 9150246"/>
              <a:gd name="connsiteY3" fmla="*/ 83345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50232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8981176 w 9150246"/>
              <a:gd name="connsiteY2" fmla="*/ 2383 h 6867509"/>
              <a:gd name="connsiteX3" fmla="*/ 9045470 w 9150246"/>
              <a:gd name="connsiteY3" fmla="*/ 2382 h 6867509"/>
              <a:gd name="connsiteX4" fmla="*/ 9004988 w 9150246"/>
              <a:gd name="connsiteY4" fmla="*/ 83345 h 6867509"/>
              <a:gd name="connsiteX5" fmla="*/ 6949969 w 9150246"/>
              <a:gd name="connsiteY5" fmla="*/ 109538 h 6867509"/>
              <a:gd name="connsiteX6" fmla="*/ 6949969 w 9150246"/>
              <a:gd name="connsiteY6" fmla="*/ 1057276 h 6867509"/>
              <a:gd name="connsiteX7" fmla="*/ 9050233 w 9150246"/>
              <a:gd name="connsiteY7" fmla="*/ 1057276 h 6867509"/>
              <a:gd name="connsiteX8" fmla="*/ 9050233 w 9150246"/>
              <a:gd name="connsiteY8" fmla="*/ 111922 h 6867509"/>
              <a:gd name="connsiteX9" fmla="*/ 9050232 w 9150246"/>
              <a:gd name="connsiteY9" fmla="*/ 0 h 6867509"/>
              <a:gd name="connsiteX10" fmla="*/ 9150235 w 9150246"/>
              <a:gd name="connsiteY10" fmla="*/ 142 h 6867509"/>
              <a:gd name="connsiteX11" fmla="*/ 9150246 w 9150246"/>
              <a:gd name="connsiteY11" fmla="*/ 6862763 h 6867509"/>
              <a:gd name="connsiteX12" fmla="*/ 0 w 9150246"/>
              <a:gd name="connsiteY12" fmla="*/ 6867509 h 6867509"/>
              <a:gd name="connsiteX13" fmla="*/ 6255 w 9150246"/>
              <a:gd name="connsiteY13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8981176 w 9150246"/>
              <a:gd name="connsiteY2" fmla="*/ 2383 h 6867509"/>
              <a:gd name="connsiteX3" fmla="*/ 9045470 w 9150246"/>
              <a:gd name="connsiteY3" fmla="*/ 2382 h 6867509"/>
              <a:gd name="connsiteX4" fmla="*/ 9004988 w 9150246"/>
              <a:gd name="connsiteY4" fmla="*/ 83345 h 6867509"/>
              <a:gd name="connsiteX5" fmla="*/ 6949969 w 9150246"/>
              <a:gd name="connsiteY5" fmla="*/ 109538 h 6867509"/>
              <a:gd name="connsiteX6" fmla="*/ 6949969 w 9150246"/>
              <a:gd name="connsiteY6" fmla="*/ 1057276 h 6867509"/>
              <a:gd name="connsiteX7" fmla="*/ 9050233 w 9150246"/>
              <a:gd name="connsiteY7" fmla="*/ 1057276 h 6867509"/>
              <a:gd name="connsiteX8" fmla="*/ 9050233 w 9150246"/>
              <a:gd name="connsiteY8" fmla="*/ 111922 h 6867509"/>
              <a:gd name="connsiteX9" fmla="*/ 9078807 w 9150246"/>
              <a:gd name="connsiteY9" fmla="*/ 0 h 6867509"/>
              <a:gd name="connsiteX10" fmla="*/ 9150235 w 9150246"/>
              <a:gd name="connsiteY10" fmla="*/ 142 h 6867509"/>
              <a:gd name="connsiteX11" fmla="*/ 9150246 w 9150246"/>
              <a:gd name="connsiteY11" fmla="*/ 6862763 h 6867509"/>
              <a:gd name="connsiteX12" fmla="*/ 0 w 9150246"/>
              <a:gd name="connsiteY12" fmla="*/ 6867509 h 6867509"/>
              <a:gd name="connsiteX13" fmla="*/ 6255 w 9150246"/>
              <a:gd name="connsiteY13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8981176 w 9150246"/>
              <a:gd name="connsiteY2" fmla="*/ 2383 h 6867509"/>
              <a:gd name="connsiteX3" fmla="*/ 9014514 w 9150246"/>
              <a:gd name="connsiteY3" fmla="*/ 2382 h 6867509"/>
              <a:gd name="connsiteX4" fmla="*/ 9004988 w 9150246"/>
              <a:gd name="connsiteY4" fmla="*/ 83345 h 6867509"/>
              <a:gd name="connsiteX5" fmla="*/ 6949969 w 9150246"/>
              <a:gd name="connsiteY5" fmla="*/ 109538 h 6867509"/>
              <a:gd name="connsiteX6" fmla="*/ 6949969 w 9150246"/>
              <a:gd name="connsiteY6" fmla="*/ 1057276 h 6867509"/>
              <a:gd name="connsiteX7" fmla="*/ 9050233 w 9150246"/>
              <a:gd name="connsiteY7" fmla="*/ 1057276 h 6867509"/>
              <a:gd name="connsiteX8" fmla="*/ 9050233 w 9150246"/>
              <a:gd name="connsiteY8" fmla="*/ 111922 h 6867509"/>
              <a:gd name="connsiteX9" fmla="*/ 9078807 w 9150246"/>
              <a:gd name="connsiteY9" fmla="*/ 0 h 6867509"/>
              <a:gd name="connsiteX10" fmla="*/ 9150235 w 9150246"/>
              <a:gd name="connsiteY10" fmla="*/ 142 h 6867509"/>
              <a:gd name="connsiteX11" fmla="*/ 9150246 w 9150246"/>
              <a:gd name="connsiteY11" fmla="*/ 6862763 h 6867509"/>
              <a:gd name="connsiteX12" fmla="*/ 0 w 9150246"/>
              <a:gd name="connsiteY12" fmla="*/ 6867509 h 6867509"/>
              <a:gd name="connsiteX13" fmla="*/ 6255 w 9150246"/>
              <a:gd name="connsiteY13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8981176 w 9150246"/>
              <a:gd name="connsiteY2" fmla="*/ 2383 h 6867509"/>
              <a:gd name="connsiteX3" fmla="*/ 9014514 w 9150246"/>
              <a:gd name="connsiteY3" fmla="*/ 2382 h 6867509"/>
              <a:gd name="connsiteX4" fmla="*/ 9004988 w 9150246"/>
              <a:gd name="connsiteY4" fmla="*/ 83345 h 6867509"/>
              <a:gd name="connsiteX5" fmla="*/ 6949969 w 9150246"/>
              <a:gd name="connsiteY5" fmla="*/ 109538 h 6867509"/>
              <a:gd name="connsiteX6" fmla="*/ 6949969 w 9150246"/>
              <a:gd name="connsiteY6" fmla="*/ 1057276 h 6867509"/>
              <a:gd name="connsiteX7" fmla="*/ 9050233 w 9150246"/>
              <a:gd name="connsiteY7" fmla="*/ 1057276 h 6867509"/>
              <a:gd name="connsiteX8" fmla="*/ 9050233 w 9150246"/>
              <a:gd name="connsiteY8" fmla="*/ 111922 h 6867509"/>
              <a:gd name="connsiteX9" fmla="*/ 9078807 w 9150246"/>
              <a:gd name="connsiteY9" fmla="*/ 0 h 6867509"/>
              <a:gd name="connsiteX10" fmla="*/ 9150235 w 9150246"/>
              <a:gd name="connsiteY10" fmla="*/ 142 h 6867509"/>
              <a:gd name="connsiteX11" fmla="*/ 9150246 w 9150246"/>
              <a:gd name="connsiteY11" fmla="*/ 6862763 h 6867509"/>
              <a:gd name="connsiteX12" fmla="*/ 0 w 9150246"/>
              <a:gd name="connsiteY12" fmla="*/ 6867509 h 6867509"/>
              <a:gd name="connsiteX13" fmla="*/ 6255 w 9150246"/>
              <a:gd name="connsiteY13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8981176 w 9150246"/>
              <a:gd name="connsiteY2" fmla="*/ 2383 h 6867509"/>
              <a:gd name="connsiteX3" fmla="*/ 9014514 w 9150246"/>
              <a:gd name="connsiteY3" fmla="*/ 2382 h 6867509"/>
              <a:gd name="connsiteX4" fmla="*/ 9004988 w 9150246"/>
              <a:gd name="connsiteY4" fmla="*/ 83345 h 6867509"/>
              <a:gd name="connsiteX5" fmla="*/ 6949969 w 9150246"/>
              <a:gd name="connsiteY5" fmla="*/ 109538 h 6867509"/>
              <a:gd name="connsiteX6" fmla="*/ 6949969 w 9150246"/>
              <a:gd name="connsiteY6" fmla="*/ 1057276 h 6867509"/>
              <a:gd name="connsiteX7" fmla="*/ 9050233 w 9150246"/>
              <a:gd name="connsiteY7" fmla="*/ 1057276 h 6867509"/>
              <a:gd name="connsiteX8" fmla="*/ 9050233 w 9150246"/>
              <a:gd name="connsiteY8" fmla="*/ 111922 h 6867509"/>
              <a:gd name="connsiteX9" fmla="*/ 9047851 w 9150246"/>
              <a:gd name="connsiteY9" fmla="*/ 0 h 6867509"/>
              <a:gd name="connsiteX10" fmla="*/ 9150235 w 9150246"/>
              <a:gd name="connsiteY10" fmla="*/ 142 h 6867509"/>
              <a:gd name="connsiteX11" fmla="*/ 9150246 w 9150246"/>
              <a:gd name="connsiteY11" fmla="*/ 6862763 h 6867509"/>
              <a:gd name="connsiteX12" fmla="*/ 0 w 9150246"/>
              <a:gd name="connsiteY12" fmla="*/ 6867509 h 6867509"/>
              <a:gd name="connsiteX13" fmla="*/ 6255 w 9150246"/>
              <a:gd name="connsiteY13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8981176 w 9150246"/>
              <a:gd name="connsiteY2" fmla="*/ 2383 h 6867509"/>
              <a:gd name="connsiteX3" fmla="*/ 9014514 w 9150246"/>
              <a:gd name="connsiteY3" fmla="*/ 2382 h 6867509"/>
              <a:gd name="connsiteX4" fmla="*/ 9004988 w 9150246"/>
              <a:gd name="connsiteY4" fmla="*/ 83345 h 6867509"/>
              <a:gd name="connsiteX5" fmla="*/ 6949969 w 9150246"/>
              <a:gd name="connsiteY5" fmla="*/ 109538 h 6867509"/>
              <a:gd name="connsiteX6" fmla="*/ 6949969 w 9150246"/>
              <a:gd name="connsiteY6" fmla="*/ 1057276 h 6867509"/>
              <a:gd name="connsiteX7" fmla="*/ 9050233 w 9150246"/>
              <a:gd name="connsiteY7" fmla="*/ 1057276 h 6867509"/>
              <a:gd name="connsiteX8" fmla="*/ 9050233 w 9150246"/>
              <a:gd name="connsiteY8" fmla="*/ 111922 h 6867509"/>
              <a:gd name="connsiteX9" fmla="*/ 9047851 w 9150246"/>
              <a:gd name="connsiteY9" fmla="*/ 0 h 6867509"/>
              <a:gd name="connsiteX10" fmla="*/ 9150235 w 9150246"/>
              <a:gd name="connsiteY10" fmla="*/ 142 h 6867509"/>
              <a:gd name="connsiteX11" fmla="*/ 9150246 w 9150246"/>
              <a:gd name="connsiteY11" fmla="*/ 6862763 h 6867509"/>
              <a:gd name="connsiteX12" fmla="*/ 0 w 9150246"/>
              <a:gd name="connsiteY12" fmla="*/ 6867509 h 6867509"/>
              <a:gd name="connsiteX13" fmla="*/ 6255 w 9150246"/>
              <a:gd name="connsiteY13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14514 w 9150246"/>
              <a:gd name="connsiteY2" fmla="*/ 2382 h 6867509"/>
              <a:gd name="connsiteX3" fmla="*/ 9004988 w 9150246"/>
              <a:gd name="connsiteY3" fmla="*/ 83345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47851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14514 w 9150246"/>
              <a:gd name="connsiteY2" fmla="*/ 2382 h 6867509"/>
              <a:gd name="connsiteX3" fmla="*/ 9004988 w 9150246"/>
              <a:gd name="connsiteY3" fmla="*/ 83345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47851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14514 w 9150246"/>
              <a:gd name="connsiteY2" fmla="*/ 2382 h 6867509"/>
              <a:gd name="connsiteX3" fmla="*/ 9004988 w 9150246"/>
              <a:gd name="connsiteY3" fmla="*/ 83345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47851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2 h 6867509"/>
              <a:gd name="connsiteX1" fmla="*/ 4578245 w 9150246"/>
              <a:gd name="connsiteY1" fmla="*/ 1 h 6867509"/>
              <a:gd name="connsiteX2" fmla="*/ 9050233 w 9150246"/>
              <a:gd name="connsiteY2" fmla="*/ 2382 h 6867509"/>
              <a:gd name="connsiteX3" fmla="*/ 9004988 w 9150246"/>
              <a:gd name="connsiteY3" fmla="*/ 83345 h 6867509"/>
              <a:gd name="connsiteX4" fmla="*/ 6949969 w 9150246"/>
              <a:gd name="connsiteY4" fmla="*/ 109538 h 6867509"/>
              <a:gd name="connsiteX5" fmla="*/ 6949969 w 9150246"/>
              <a:gd name="connsiteY5" fmla="*/ 1057276 h 6867509"/>
              <a:gd name="connsiteX6" fmla="*/ 9050233 w 9150246"/>
              <a:gd name="connsiteY6" fmla="*/ 1057276 h 6867509"/>
              <a:gd name="connsiteX7" fmla="*/ 9050233 w 9150246"/>
              <a:gd name="connsiteY7" fmla="*/ 111922 h 6867509"/>
              <a:gd name="connsiteX8" fmla="*/ 9047851 w 9150246"/>
              <a:gd name="connsiteY8" fmla="*/ 0 h 6867509"/>
              <a:gd name="connsiteX9" fmla="*/ 9150235 w 9150246"/>
              <a:gd name="connsiteY9" fmla="*/ 142 h 6867509"/>
              <a:gd name="connsiteX10" fmla="*/ 9150246 w 9150246"/>
              <a:gd name="connsiteY10" fmla="*/ 6862763 h 6867509"/>
              <a:gd name="connsiteX11" fmla="*/ 0 w 9150246"/>
              <a:gd name="connsiteY11" fmla="*/ 6867509 h 6867509"/>
              <a:gd name="connsiteX12" fmla="*/ 6255 w 9150246"/>
              <a:gd name="connsiteY12" fmla="*/ 142 h 6867509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50233 w 9150246"/>
              <a:gd name="connsiteY2" fmla="*/ 2381 h 6867508"/>
              <a:gd name="connsiteX3" fmla="*/ 9004988 w 9150246"/>
              <a:gd name="connsiteY3" fmla="*/ 83344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107382 w 9150246"/>
              <a:gd name="connsiteY8" fmla="*/ 4762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50233 w 9150246"/>
              <a:gd name="connsiteY2" fmla="*/ 2381 h 6867508"/>
              <a:gd name="connsiteX3" fmla="*/ 9004988 w 9150246"/>
              <a:gd name="connsiteY3" fmla="*/ 83344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107382 w 9150246"/>
              <a:gd name="connsiteY8" fmla="*/ 4762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50233 w 9150246"/>
              <a:gd name="connsiteY2" fmla="*/ 2381 h 6867508"/>
              <a:gd name="connsiteX3" fmla="*/ 9004988 w 9150246"/>
              <a:gd name="connsiteY3" fmla="*/ 83344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047850 w 9150246"/>
              <a:gd name="connsiteY8" fmla="*/ 4762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50233 w 9150246"/>
              <a:gd name="connsiteY2" fmla="*/ 2381 h 6867508"/>
              <a:gd name="connsiteX3" fmla="*/ 9004988 w 9150246"/>
              <a:gd name="connsiteY3" fmla="*/ 83344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047850 w 9150246"/>
              <a:gd name="connsiteY8" fmla="*/ 0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50233 w 9150246"/>
              <a:gd name="connsiteY2" fmla="*/ 2381 h 6867508"/>
              <a:gd name="connsiteX3" fmla="*/ 9052613 w 9150246"/>
              <a:gd name="connsiteY3" fmla="*/ 109538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047850 w 9150246"/>
              <a:gd name="connsiteY8" fmla="*/ 0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050233 w 9150246"/>
              <a:gd name="connsiteY2" fmla="*/ 2381 h 6867508"/>
              <a:gd name="connsiteX3" fmla="*/ 9052613 w 9150246"/>
              <a:gd name="connsiteY3" fmla="*/ 109538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150244 w 9150246"/>
              <a:gd name="connsiteY8" fmla="*/ 2381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147864 w 9150246"/>
              <a:gd name="connsiteY2" fmla="*/ 2381 h 6867508"/>
              <a:gd name="connsiteX3" fmla="*/ 9052613 w 9150246"/>
              <a:gd name="connsiteY3" fmla="*/ 109538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150244 w 9150246"/>
              <a:gd name="connsiteY8" fmla="*/ 2381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147864 w 9150246"/>
              <a:gd name="connsiteY2" fmla="*/ 2381 h 6867508"/>
              <a:gd name="connsiteX3" fmla="*/ 9052613 w 9150246"/>
              <a:gd name="connsiteY3" fmla="*/ 109538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150244 w 9150246"/>
              <a:gd name="connsiteY8" fmla="*/ 2381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50246"/>
              <a:gd name="connsiteY0" fmla="*/ 141 h 6867508"/>
              <a:gd name="connsiteX1" fmla="*/ 4578245 w 9150246"/>
              <a:gd name="connsiteY1" fmla="*/ 0 h 6867508"/>
              <a:gd name="connsiteX2" fmla="*/ 9147864 w 9150246"/>
              <a:gd name="connsiteY2" fmla="*/ 2381 h 6867508"/>
              <a:gd name="connsiteX3" fmla="*/ 9052613 w 9150246"/>
              <a:gd name="connsiteY3" fmla="*/ 109538 h 6867508"/>
              <a:gd name="connsiteX4" fmla="*/ 6949969 w 9150246"/>
              <a:gd name="connsiteY4" fmla="*/ 109537 h 6867508"/>
              <a:gd name="connsiteX5" fmla="*/ 6949969 w 9150246"/>
              <a:gd name="connsiteY5" fmla="*/ 1057275 h 6867508"/>
              <a:gd name="connsiteX6" fmla="*/ 9050233 w 9150246"/>
              <a:gd name="connsiteY6" fmla="*/ 1057275 h 6867508"/>
              <a:gd name="connsiteX7" fmla="*/ 9050233 w 9150246"/>
              <a:gd name="connsiteY7" fmla="*/ 111921 h 6867508"/>
              <a:gd name="connsiteX8" fmla="*/ 9150244 w 9150246"/>
              <a:gd name="connsiteY8" fmla="*/ 2381 h 6867508"/>
              <a:gd name="connsiteX9" fmla="*/ 9150235 w 9150246"/>
              <a:gd name="connsiteY9" fmla="*/ 141 h 6867508"/>
              <a:gd name="connsiteX10" fmla="*/ 9150246 w 9150246"/>
              <a:gd name="connsiteY10" fmla="*/ 6862762 h 6867508"/>
              <a:gd name="connsiteX11" fmla="*/ 0 w 9150246"/>
              <a:gd name="connsiteY11" fmla="*/ 6867508 h 6867508"/>
              <a:gd name="connsiteX12" fmla="*/ 6255 w 9150246"/>
              <a:gd name="connsiteY12" fmla="*/ 141 h 6867508"/>
              <a:gd name="connsiteX0" fmla="*/ 6255 w 9171666"/>
              <a:gd name="connsiteY0" fmla="*/ 14288 h 6881655"/>
              <a:gd name="connsiteX1" fmla="*/ 4578245 w 9171666"/>
              <a:gd name="connsiteY1" fmla="*/ 14147 h 6881655"/>
              <a:gd name="connsiteX2" fmla="*/ 9147864 w 9171666"/>
              <a:gd name="connsiteY2" fmla="*/ 16528 h 6881655"/>
              <a:gd name="connsiteX3" fmla="*/ 9052613 w 9171666"/>
              <a:gd name="connsiteY3" fmla="*/ 123685 h 6881655"/>
              <a:gd name="connsiteX4" fmla="*/ 6949969 w 9171666"/>
              <a:gd name="connsiteY4" fmla="*/ 123684 h 6881655"/>
              <a:gd name="connsiteX5" fmla="*/ 6949969 w 9171666"/>
              <a:gd name="connsiteY5" fmla="*/ 1071422 h 6881655"/>
              <a:gd name="connsiteX6" fmla="*/ 9050233 w 9171666"/>
              <a:gd name="connsiteY6" fmla="*/ 1071422 h 6881655"/>
              <a:gd name="connsiteX7" fmla="*/ 9050233 w 9171666"/>
              <a:gd name="connsiteY7" fmla="*/ 126068 h 6881655"/>
              <a:gd name="connsiteX8" fmla="*/ 9150244 w 9171666"/>
              <a:gd name="connsiteY8" fmla="*/ 16528 h 6881655"/>
              <a:gd name="connsiteX9" fmla="*/ 9171666 w 9171666"/>
              <a:gd name="connsiteY9" fmla="*/ 0 h 6881655"/>
              <a:gd name="connsiteX10" fmla="*/ 9150246 w 9171666"/>
              <a:gd name="connsiteY10" fmla="*/ 6876909 h 6881655"/>
              <a:gd name="connsiteX11" fmla="*/ 0 w 9171666"/>
              <a:gd name="connsiteY11" fmla="*/ 6881655 h 6881655"/>
              <a:gd name="connsiteX12" fmla="*/ 6255 w 9171666"/>
              <a:gd name="connsiteY12" fmla="*/ 14288 h 6881655"/>
              <a:gd name="connsiteX0" fmla="*/ 6255 w 9171666"/>
              <a:gd name="connsiteY0" fmla="*/ 14288 h 6881655"/>
              <a:gd name="connsiteX1" fmla="*/ 4578245 w 9171666"/>
              <a:gd name="connsiteY1" fmla="*/ 14147 h 6881655"/>
              <a:gd name="connsiteX2" fmla="*/ 9147864 w 9171666"/>
              <a:gd name="connsiteY2" fmla="*/ 16528 h 6881655"/>
              <a:gd name="connsiteX3" fmla="*/ 9052613 w 9171666"/>
              <a:gd name="connsiteY3" fmla="*/ 123685 h 6881655"/>
              <a:gd name="connsiteX4" fmla="*/ 6949969 w 9171666"/>
              <a:gd name="connsiteY4" fmla="*/ 123684 h 6881655"/>
              <a:gd name="connsiteX5" fmla="*/ 6949969 w 9171666"/>
              <a:gd name="connsiteY5" fmla="*/ 1071422 h 6881655"/>
              <a:gd name="connsiteX6" fmla="*/ 9050233 w 9171666"/>
              <a:gd name="connsiteY6" fmla="*/ 1071422 h 6881655"/>
              <a:gd name="connsiteX7" fmla="*/ 9050233 w 9171666"/>
              <a:gd name="connsiteY7" fmla="*/ 126068 h 6881655"/>
              <a:gd name="connsiteX8" fmla="*/ 9150244 w 9171666"/>
              <a:gd name="connsiteY8" fmla="*/ 16528 h 6881655"/>
              <a:gd name="connsiteX9" fmla="*/ 9171666 w 9171666"/>
              <a:gd name="connsiteY9" fmla="*/ 0 h 6881655"/>
              <a:gd name="connsiteX10" fmla="*/ 9150246 w 9171666"/>
              <a:gd name="connsiteY10" fmla="*/ 6876909 h 6881655"/>
              <a:gd name="connsiteX11" fmla="*/ 0 w 9171666"/>
              <a:gd name="connsiteY11" fmla="*/ 6881655 h 6881655"/>
              <a:gd name="connsiteX12" fmla="*/ 6255 w 9171666"/>
              <a:gd name="connsiteY12" fmla="*/ 14288 h 6881655"/>
              <a:gd name="connsiteX0" fmla="*/ 6255 w 9171666"/>
              <a:gd name="connsiteY0" fmla="*/ 40623 h 6907990"/>
              <a:gd name="connsiteX1" fmla="*/ 4578245 w 9171666"/>
              <a:gd name="connsiteY1" fmla="*/ 40482 h 6907990"/>
              <a:gd name="connsiteX2" fmla="*/ 9147864 w 9171666"/>
              <a:gd name="connsiteY2" fmla="*/ 42863 h 6907990"/>
              <a:gd name="connsiteX3" fmla="*/ 9052613 w 9171666"/>
              <a:gd name="connsiteY3" fmla="*/ 150020 h 6907990"/>
              <a:gd name="connsiteX4" fmla="*/ 6949969 w 9171666"/>
              <a:gd name="connsiteY4" fmla="*/ 150019 h 6907990"/>
              <a:gd name="connsiteX5" fmla="*/ 6949969 w 9171666"/>
              <a:gd name="connsiteY5" fmla="*/ 1097757 h 6907990"/>
              <a:gd name="connsiteX6" fmla="*/ 9050233 w 9171666"/>
              <a:gd name="connsiteY6" fmla="*/ 1097757 h 6907990"/>
              <a:gd name="connsiteX7" fmla="*/ 9050233 w 9171666"/>
              <a:gd name="connsiteY7" fmla="*/ 152403 h 6907990"/>
              <a:gd name="connsiteX8" fmla="*/ 9050232 w 9171666"/>
              <a:gd name="connsiteY8" fmla="*/ 0 h 6907990"/>
              <a:gd name="connsiteX9" fmla="*/ 9171666 w 9171666"/>
              <a:gd name="connsiteY9" fmla="*/ 26335 h 6907990"/>
              <a:gd name="connsiteX10" fmla="*/ 9150246 w 9171666"/>
              <a:gd name="connsiteY10" fmla="*/ 6903244 h 6907990"/>
              <a:gd name="connsiteX11" fmla="*/ 0 w 9171666"/>
              <a:gd name="connsiteY11" fmla="*/ 6907990 h 6907990"/>
              <a:gd name="connsiteX12" fmla="*/ 6255 w 9171666"/>
              <a:gd name="connsiteY12" fmla="*/ 40623 h 6907990"/>
              <a:gd name="connsiteX0" fmla="*/ 6255 w 9171666"/>
              <a:gd name="connsiteY0" fmla="*/ 40623 h 6907990"/>
              <a:gd name="connsiteX1" fmla="*/ 4578245 w 9171666"/>
              <a:gd name="connsiteY1" fmla="*/ 40482 h 6907990"/>
              <a:gd name="connsiteX2" fmla="*/ 9147864 w 9171666"/>
              <a:gd name="connsiteY2" fmla="*/ 42863 h 6907990"/>
              <a:gd name="connsiteX3" fmla="*/ 9052613 w 9171666"/>
              <a:gd name="connsiteY3" fmla="*/ 150020 h 6907990"/>
              <a:gd name="connsiteX4" fmla="*/ 6949969 w 9171666"/>
              <a:gd name="connsiteY4" fmla="*/ 150019 h 6907990"/>
              <a:gd name="connsiteX5" fmla="*/ 6949969 w 9171666"/>
              <a:gd name="connsiteY5" fmla="*/ 1097757 h 6907990"/>
              <a:gd name="connsiteX6" fmla="*/ 9050233 w 9171666"/>
              <a:gd name="connsiteY6" fmla="*/ 1097757 h 6907990"/>
              <a:gd name="connsiteX7" fmla="*/ 9050233 w 9171666"/>
              <a:gd name="connsiteY7" fmla="*/ 152403 h 6907990"/>
              <a:gd name="connsiteX8" fmla="*/ 9050232 w 9171666"/>
              <a:gd name="connsiteY8" fmla="*/ 0 h 6907990"/>
              <a:gd name="connsiteX9" fmla="*/ 9171666 w 9171666"/>
              <a:gd name="connsiteY9" fmla="*/ 26335 h 6907990"/>
              <a:gd name="connsiteX10" fmla="*/ 9150246 w 9171666"/>
              <a:gd name="connsiteY10" fmla="*/ 6903244 h 6907990"/>
              <a:gd name="connsiteX11" fmla="*/ 0 w 9171666"/>
              <a:gd name="connsiteY11" fmla="*/ 6907990 h 6907990"/>
              <a:gd name="connsiteX12" fmla="*/ 6255 w 9171666"/>
              <a:gd name="connsiteY12" fmla="*/ 40623 h 6907990"/>
              <a:gd name="connsiteX0" fmla="*/ 6255 w 9171666"/>
              <a:gd name="connsiteY0" fmla="*/ 40623 h 6907990"/>
              <a:gd name="connsiteX1" fmla="*/ 4578245 w 9171666"/>
              <a:gd name="connsiteY1" fmla="*/ 40482 h 6907990"/>
              <a:gd name="connsiteX2" fmla="*/ 9147864 w 9171666"/>
              <a:gd name="connsiteY2" fmla="*/ 42863 h 6907990"/>
              <a:gd name="connsiteX3" fmla="*/ 9052613 w 9171666"/>
              <a:gd name="connsiteY3" fmla="*/ 150020 h 6907990"/>
              <a:gd name="connsiteX4" fmla="*/ 6949969 w 9171666"/>
              <a:gd name="connsiteY4" fmla="*/ 150019 h 6907990"/>
              <a:gd name="connsiteX5" fmla="*/ 6949969 w 9171666"/>
              <a:gd name="connsiteY5" fmla="*/ 1097757 h 6907990"/>
              <a:gd name="connsiteX6" fmla="*/ 9050233 w 9171666"/>
              <a:gd name="connsiteY6" fmla="*/ 1097757 h 6907990"/>
              <a:gd name="connsiteX7" fmla="*/ 9050233 w 9171666"/>
              <a:gd name="connsiteY7" fmla="*/ 152403 h 6907990"/>
              <a:gd name="connsiteX8" fmla="*/ 9050232 w 9171666"/>
              <a:gd name="connsiteY8" fmla="*/ 0 h 6907990"/>
              <a:gd name="connsiteX9" fmla="*/ 9171666 w 9171666"/>
              <a:gd name="connsiteY9" fmla="*/ 26335 h 6907990"/>
              <a:gd name="connsiteX10" fmla="*/ 9150246 w 9171666"/>
              <a:gd name="connsiteY10" fmla="*/ 6903244 h 6907990"/>
              <a:gd name="connsiteX11" fmla="*/ 0 w 9171666"/>
              <a:gd name="connsiteY11" fmla="*/ 6907990 h 6907990"/>
              <a:gd name="connsiteX12" fmla="*/ 6255 w 9171666"/>
              <a:gd name="connsiteY12" fmla="*/ 40623 h 6907990"/>
              <a:gd name="connsiteX0" fmla="*/ 6255 w 9178809"/>
              <a:gd name="connsiteY0" fmla="*/ 59531 h 6926898"/>
              <a:gd name="connsiteX1" fmla="*/ 4578245 w 9178809"/>
              <a:gd name="connsiteY1" fmla="*/ 59390 h 6926898"/>
              <a:gd name="connsiteX2" fmla="*/ 9147864 w 9178809"/>
              <a:gd name="connsiteY2" fmla="*/ 61771 h 6926898"/>
              <a:gd name="connsiteX3" fmla="*/ 9052613 w 9178809"/>
              <a:gd name="connsiteY3" fmla="*/ 168928 h 6926898"/>
              <a:gd name="connsiteX4" fmla="*/ 6949969 w 9178809"/>
              <a:gd name="connsiteY4" fmla="*/ 168927 h 6926898"/>
              <a:gd name="connsiteX5" fmla="*/ 6949969 w 9178809"/>
              <a:gd name="connsiteY5" fmla="*/ 1116665 h 6926898"/>
              <a:gd name="connsiteX6" fmla="*/ 9050233 w 9178809"/>
              <a:gd name="connsiteY6" fmla="*/ 1116665 h 6926898"/>
              <a:gd name="connsiteX7" fmla="*/ 9050233 w 9178809"/>
              <a:gd name="connsiteY7" fmla="*/ 171311 h 6926898"/>
              <a:gd name="connsiteX8" fmla="*/ 9050232 w 9178809"/>
              <a:gd name="connsiteY8" fmla="*/ 18908 h 6926898"/>
              <a:gd name="connsiteX9" fmla="*/ 9178809 w 9178809"/>
              <a:gd name="connsiteY9" fmla="*/ 0 h 6926898"/>
              <a:gd name="connsiteX10" fmla="*/ 9150246 w 9178809"/>
              <a:gd name="connsiteY10" fmla="*/ 6922152 h 6926898"/>
              <a:gd name="connsiteX11" fmla="*/ 0 w 9178809"/>
              <a:gd name="connsiteY11" fmla="*/ 6926898 h 6926898"/>
              <a:gd name="connsiteX12" fmla="*/ 6255 w 9178809"/>
              <a:gd name="connsiteY12" fmla="*/ 59531 h 6926898"/>
              <a:gd name="connsiteX0" fmla="*/ 6255 w 9152615"/>
              <a:gd name="connsiteY0" fmla="*/ 40623 h 6907990"/>
              <a:gd name="connsiteX1" fmla="*/ 4578245 w 9152615"/>
              <a:gd name="connsiteY1" fmla="*/ 40482 h 6907990"/>
              <a:gd name="connsiteX2" fmla="*/ 9147864 w 9152615"/>
              <a:gd name="connsiteY2" fmla="*/ 42863 h 6907990"/>
              <a:gd name="connsiteX3" fmla="*/ 9052613 w 9152615"/>
              <a:gd name="connsiteY3" fmla="*/ 150020 h 6907990"/>
              <a:gd name="connsiteX4" fmla="*/ 6949969 w 9152615"/>
              <a:gd name="connsiteY4" fmla="*/ 150019 h 6907990"/>
              <a:gd name="connsiteX5" fmla="*/ 6949969 w 9152615"/>
              <a:gd name="connsiteY5" fmla="*/ 1097757 h 6907990"/>
              <a:gd name="connsiteX6" fmla="*/ 9050233 w 9152615"/>
              <a:gd name="connsiteY6" fmla="*/ 1097757 h 6907990"/>
              <a:gd name="connsiteX7" fmla="*/ 9050233 w 9152615"/>
              <a:gd name="connsiteY7" fmla="*/ 152403 h 6907990"/>
              <a:gd name="connsiteX8" fmla="*/ 9050232 w 9152615"/>
              <a:gd name="connsiteY8" fmla="*/ 0 h 6907990"/>
              <a:gd name="connsiteX9" fmla="*/ 9152615 w 9152615"/>
              <a:gd name="connsiteY9" fmla="*/ 40623 h 6907990"/>
              <a:gd name="connsiteX10" fmla="*/ 9150246 w 9152615"/>
              <a:gd name="connsiteY10" fmla="*/ 6903244 h 6907990"/>
              <a:gd name="connsiteX11" fmla="*/ 0 w 9152615"/>
              <a:gd name="connsiteY11" fmla="*/ 6907990 h 6907990"/>
              <a:gd name="connsiteX12" fmla="*/ 6255 w 9152615"/>
              <a:gd name="connsiteY12" fmla="*/ 40623 h 6907990"/>
              <a:gd name="connsiteX0" fmla="*/ 6255 w 9174046"/>
              <a:gd name="connsiteY0" fmla="*/ 40623 h 6907990"/>
              <a:gd name="connsiteX1" fmla="*/ 4578245 w 9174046"/>
              <a:gd name="connsiteY1" fmla="*/ 40482 h 6907990"/>
              <a:gd name="connsiteX2" fmla="*/ 9147864 w 9174046"/>
              <a:gd name="connsiteY2" fmla="*/ 42863 h 6907990"/>
              <a:gd name="connsiteX3" fmla="*/ 9052613 w 9174046"/>
              <a:gd name="connsiteY3" fmla="*/ 150020 h 6907990"/>
              <a:gd name="connsiteX4" fmla="*/ 6949969 w 9174046"/>
              <a:gd name="connsiteY4" fmla="*/ 150019 h 6907990"/>
              <a:gd name="connsiteX5" fmla="*/ 6949969 w 9174046"/>
              <a:gd name="connsiteY5" fmla="*/ 1097757 h 6907990"/>
              <a:gd name="connsiteX6" fmla="*/ 9050233 w 9174046"/>
              <a:gd name="connsiteY6" fmla="*/ 1097757 h 6907990"/>
              <a:gd name="connsiteX7" fmla="*/ 9050233 w 9174046"/>
              <a:gd name="connsiteY7" fmla="*/ 152403 h 6907990"/>
              <a:gd name="connsiteX8" fmla="*/ 9050232 w 9174046"/>
              <a:gd name="connsiteY8" fmla="*/ 0 h 6907990"/>
              <a:gd name="connsiteX9" fmla="*/ 9174046 w 9174046"/>
              <a:gd name="connsiteY9" fmla="*/ 4904 h 6907990"/>
              <a:gd name="connsiteX10" fmla="*/ 9150246 w 9174046"/>
              <a:gd name="connsiteY10" fmla="*/ 6903244 h 6907990"/>
              <a:gd name="connsiteX11" fmla="*/ 0 w 9174046"/>
              <a:gd name="connsiteY11" fmla="*/ 6907990 h 6907990"/>
              <a:gd name="connsiteX12" fmla="*/ 6255 w 9174046"/>
              <a:gd name="connsiteY12" fmla="*/ 40623 h 6907990"/>
              <a:gd name="connsiteX0" fmla="*/ 6255 w 9152614"/>
              <a:gd name="connsiteY0" fmla="*/ 40623 h 6907990"/>
              <a:gd name="connsiteX1" fmla="*/ 4578245 w 9152614"/>
              <a:gd name="connsiteY1" fmla="*/ 40482 h 6907990"/>
              <a:gd name="connsiteX2" fmla="*/ 9147864 w 9152614"/>
              <a:gd name="connsiteY2" fmla="*/ 42863 h 6907990"/>
              <a:gd name="connsiteX3" fmla="*/ 9052613 w 9152614"/>
              <a:gd name="connsiteY3" fmla="*/ 150020 h 6907990"/>
              <a:gd name="connsiteX4" fmla="*/ 6949969 w 9152614"/>
              <a:gd name="connsiteY4" fmla="*/ 150019 h 6907990"/>
              <a:gd name="connsiteX5" fmla="*/ 6949969 w 9152614"/>
              <a:gd name="connsiteY5" fmla="*/ 1097757 h 6907990"/>
              <a:gd name="connsiteX6" fmla="*/ 9050233 w 9152614"/>
              <a:gd name="connsiteY6" fmla="*/ 1097757 h 6907990"/>
              <a:gd name="connsiteX7" fmla="*/ 9050233 w 9152614"/>
              <a:gd name="connsiteY7" fmla="*/ 152403 h 6907990"/>
              <a:gd name="connsiteX8" fmla="*/ 9050232 w 9152614"/>
              <a:gd name="connsiteY8" fmla="*/ 0 h 6907990"/>
              <a:gd name="connsiteX9" fmla="*/ 9152614 w 9152614"/>
              <a:gd name="connsiteY9" fmla="*/ 35860 h 6907990"/>
              <a:gd name="connsiteX10" fmla="*/ 9150246 w 9152614"/>
              <a:gd name="connsiteY10" fmla="*/ 6903244 h 6907990"/>
              <a:gd name="connsiteX11" fmla="*/ 0 w 9152614"/>
              <a:gd name="connsiteY11" fmla="*/ 6907990 h 6907990"/>
              <a:gd name="connsiteX12" fmla="*/ 6255 w 9152614"/>
              <a:gd name="connsiteY12" fmla="*/ 40623 h 6907990"/>
              <a:gd name="connsiteX0" fmla="*/ 6255 w 9152614"/>
              <a:gd name="connsiteY0" fmla="*/ 4763 h 6872130"/>
              <a:gd name="connsiteX1" fmla="*/ 4578245 w 9152614"/>
              <a:gd name="connsiteY1" fmla="*/ 4622 h 6872130"/>
              <a:gd name="connsiteX2" fmla="*/ 9147864 w 9152614"/>
              <a:gd name="connsiteY2" fmla="*/ 7003 h 6872130"/>
              <a:gd name="connsiteX3" fmla="*/ 9052613 w 9152614"/>
              <a:gd name="connsiteY3" fmla="*/ 114160 h 6872130"/>
              <a:gd name="connsiteX4" fmla="*/ 6949969 w 9152614"/>
              <a:gd name="connsiteY4" fmla="*/ 114159 h 6872130"/>
              <a:gd name="connsiteX5" fmla="*/ 6949969 w 9152614"/>
              <a:gd name="connsiteY5" fmla="*/ 1061897 h 6872130"/>
              <a:gd name="connsiteX6" fmla="*/ 9050233 w 9152614"/>
              <a:gd name="connsiteY6" fmla="*/ 1061897 h 6872130"/>
              <a:gd name="connsiteX7" fmla="*/ 9050233 w 9152614"/>
              <a:gd name="connsiteY7" fmla="*/ 116543 h 6872130"/>
              <a:gd name="connsiteX8" fmla="*/ 8900214 w 9152614"/>
              <a:gd name="connsiteY8" fmla="*/ 57009 h 6872130"/>
              <a:gd name="connsiteX9" fmla="*/ 9152614 w 9152614"/>
              <a:gd name="connsiteY9" fmla="*/ 0 h 6872130"/>
              <a:gd name="connsiteX10" fmla="*/ 9150246 w 9152614"/>
              <a:gd name="connsiteY10" fmla="*/ 6867384 h 6872130"/>
              <a:gd name="connsiteX11" fmla="*/ 0 w 9152614"/>
              <a:gd name="connsiteY11" fmla="*/ 6872130 h 6872130"/>
              <a:gd name="connsiteX12" fmla="*/ 6255 w 9152614"/>
              <a:gd name="connsiteY12" fmla="*/ 4763 h 6872130"/>
              <a:gd name="connsiteX0" fmla="*/ 6255 w 9152614"/>
              <a:gd name="connsiteY0" fmla="*/ 4763 h 6872130"/>
              <a:gd name="connsiteX1" fmla="*/ 4578245 w 9152614"/>
              <a:gd name="connsiteY1" fmla="*/ 4622 h 6872130"/>
              <a:gd name="connsiteX2" fmla="*/ 9147864 w 9152614"/>
              <a:gd name="connsiteY2" fmla="*/ 7003 h 6872130"/>
              <a:gd name="connsiteX3" fmla="*/ 9052613 w 9152614"/>
              <a:gd name="connsiteY3" fmla="*/ 114160 h 6872130"/>
              <a:gd name="connsiteX4" fmla="*/ 6949969 w 9152614"/>
              <a:gd name="connsiteY4" fmla="*/ 114159 h 6872130"/>
              <a:gd name="connsiteX5" fmla="*/ 6949969 w 9152614"/>
              <a:gd name="connsiteY5" fmla="*/ 1061897 h 6872130"/>
              <a:gd name="connsiteX6" fmla="*/ 9050233 w 9152614"/>
              <a:gd name="connsiteY6" fmla="*/ 1061897 h 6872130"/>
              <a:gd name="connsiteX7" fmla="*/ 9050233 w 9152614"/>
              <a:gd name="connsiteY7" fmla="*/ 116543 h 6872130"/>
              <a:gd name="connsiteX8" fmla="*/ 8900214 w 9152614"/>
              <a:gd name="connsiteY8" fmla="*/ 57009 h 6872130"/>
              <a:gd name="connsiteX9" fmla="*/ 9152614 w 9152614"/>
              <a:gd name="connsiteY9" fmla="*/ 0 h 6872130"/>
              <a:gd name="connsiteX10" fmla="*/ 9150246 w 9152614"/>
              <a:gd name="connsiteY10" fmla="*/ 6867384 h 6872130"/>
              <a:gd name="connsiteX11" fmla="*/ 0 w 9152614"/>
              <a:gd name="connsiteY11" fmla="*/ 6872130 h 6872130"/>
              <a:gd name="connsiteX12" fmla="*/ 6255 w 9152614"/>
              <a:gd name="connsiteY12" fmla="*/ 4763 h 6872130"/>
              <a:gd name="connsiteX0" fmla="*/ 6255 w 9152614"/>
              <a:gd name="connsiteY0" fmla="*/ 4763 h 6872130"/>
              <a:gd name="connsiteX1" fmla="*/ 4578245 w 9152614"/>
              <a:gd name="connsiteY1" fmla="*/ 4622 h 6872130"/>
              <a:gd name="connsiteX2" fmla="*/ 9147864 w 9152614"/>
              <a:gd name="connsiteY2" fmla="*/ 7003 h 6872130"/>
              <a:gd name="connsiteX3" fmla="*/ 9052613 w 9152614"/>
              <a:gd name="connsiteY3" fmla="*/ 114160 h 6872130"/>
              <a:gd name="connsiteX4" fmla="*/ 6949969 w 9152614"/>
              <a:gd name="connsiteY4" fmla="*/ 114159 h 6872130"/>
              <a:gd name="connsiteX5" fmla="*/ 6949969 w 9152614"/>
              <a:gd name="connsiteY5" fmla="*/ 1061897 h 6872130"/>
              <a:gd name="connsiteX6" fmla="*/ 9050233 w 9152614"/>
              <a:gd name="connsiteY6" fmla="*/ 1061897 h 6872130"/>
              <a:gd name="connsiteX7" fmla="*/ 9050233 w 9152614"/>
              <a:gd name="connsiteY7" fmla="*/ 116543 h 6872130"/>
              <a:gd name="connsiteX8" fmla="*/ 9152614 w 9152614"/>
              <a:gd name="connsiteY8" fmla="*/ 0 h 6872130"/>
              <a:gd name="connsiteX9" fmla="*/ 9150246 w 9152614"/>
              <a:gd name="connsiteY9" fmla="*/ 6867384 h 6872130"/>
              <a:gd name="connsiteX10" fmla="*/ 0 w 9152614"/>
              <a:gd name="connsiteY10" fmla="*/ 6872130 h 6872130"/>
              <a:gd name="connsiteX11" fmla="*/ 6255 w 9152614"/>
              <a:gd name="connsiteY11" fmla="*/ 4763 h 6872130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47864 w 9152614"/>
              <a:gd name="connsiteY2" fmla="*/ 2381 h 6867508"/>
              <a:gd name="connsiteX3" fmla="*/ 9052613 w 9152614"/>
              <a:gd name="connsiteY3" fmla="*/ 109538 h 6867508"/>
              <a:gd name="connsiteX4" fmla="*/ 6949969 w 9152614"/>
              <a:gd name="connsiteY4" fmla="*/ 109537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50233 w 9152614"/>
              <a:gd name="connsiteY7" fmla="*/ 111921 h 6867508"/>
              <a:gd name="connsiteX8" fmla="*/ 9152614 w 9152614"/>
              <a:gd name="connsiteY8" fmla="*/ 382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52613 w 9152614"/>
              <a:gd name="connsiteY3" fmla="*/ 109538 h 6867508"/>
              <a:gd name="connsiteX4" fmla="*/ 6949969 w 9152614"/>
              <a:gd name="connsiteY4" fmla="*/ 109537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50233 w 9152614"/>
              <a:gd name="connsiteY7" fmla="*/ 111921 h 6867508"/>
              <a:gd name="connsiteX8" fmla="*/ 9152614 w 9152614"/>
              <a:gd name="connsiteY8" fmla="*/ 382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52613 w 9152614"/>
              <a:gd name="connsiteY3" fmla="*/ 109538 h 6867508"/>
              <a:gd name="connsiteX4" fmla="*/ 6949969 w 9152614"/>
              <a:gd name="connsiteY4" fmla="*/ 109537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50233 w 9152614"/>
              <a:gd name="connsiteY7" fmla="*/ 111921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52613 w 9152614"/>
              <a:gd name="connsiteY3" fmla="*/ 109538 h 6867508"/>
              <a:gd name="connsiteX4" fmla="*/ 6949969 w 9152614"/>
              <a:gd name="connsiteY4" fmla="*/ 109537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52613 w 9152614"/>
              <a:gd name="connsiteY3" fmla="*/ 109538 h 6867508"/>
              <a:gd name="connsiteX4" fmla="*/ 6949969 w 9152614"/>
              <a:gd name="connsiteY4" fmla="*/ 109537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8997844 w 9152614"/>
              <a:gd name="connsiteY3" fmla="*/ 59532 h 6867508"/>
              <a:gd name="connsiteX4" fmla="*/ 6949969 w 9152614"/>
              <a:gd name="connsiteY4" fmla="*/ 109537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8997844 w 9152614"/>
              <a:gd name="connsiteY3" fmla="*/ 59532 h 6867508"/>
              <a:gd name="connsiteX4" fmla="*/ 6949969 w 9152614"/>
              <a:gd name="connsiteY4" fmla="*/ 83344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8997844 w 9152614"/>
              <a:gd name="connsiteY3" fmla="*/ 59532 h 6867508"/>
              <a:gd name="connsiteX4" fmla="*/ 6949969 w 9152614"/>
              <a:gd name="connsiteY4" fmla="*/ 83344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8997844 w 9152614"/>
              <a:gd name="connsiteY3" fmla="*/ 59532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83570 w 9152614"/>
              <a:gd name="connsiteY7" fmla="*/ 80964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131195 w 9152614"/>
              <a:gd name="connsiteY7" fmla="*/ 204789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119289 w 9152614"/>
              <a:gd name="connsiteY7" fmla="*/ 185739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114527 w 9152614"/>
              <a:gd name="connsiteY6" fmla="*/ 1054894 h 6867508"/>
              <a:gd name="connsiteX7" fmla="*/ 9119289 w 9152614"/>
              <a:gd name="connsiteY7" fmla="*/ 185739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119289 w 9152614"/>
              <a:gd name="connsiteY7" fmla="*/ 185739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119289 w 9152614"/>
              <a:gd name="connsiteY7" fmla="*/ 185739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141 h 6867508"/>
              <a:gd name="connsiteX1" fmla="*/ 4578245 w 9152614"/>
              <a:gd name="connsiteY1" fmla="*/ 0 h 6867508"/>
              <a:gd name="connsiteX2" fmla="*/ 9150245 w 9152614"/>
              <a:gd name="connsiteY2" fmla="*/ 0 h 6867508"/>
              <a:gd name="connsiteX3" fmla="*/ 9047851 w 9152614"/>
              <a:gd name="connsiteY3" fmla="*/ 109538 h 6867508"/>
              <a:gd name="connsiteX4" fmla="*/ 6949969 w 9152614"/>
              <a:gd name="connsiteY4" fmla="*/ 109538 h 6867508"/>
              <a:gd name="connsiteX5" fmla="*/ 6949969 w 9152614"/>
              <a:gd name="connsiteY5" fmla="*/ 1057275 h 6867508"/>
              <a:gd name="connsiteX6" fmla="*/ 9050233 w 9152614"/>
              <a:gd name="connsiteY6" fmla="*/ 1057275 h 6867508"/>
              <a:gd name="connsiteX7" fmla="*/ 9050233 w 9152614"/>
              <a:gd name="connsiteY7" fmla="*/ 107158 h 6867508"/>
              <a:gd name="connsiteX8" fmla="*/ 9152614 w 9152614"/>
              <a:gd name="connsiteY8" fmla="*/ 140 h 6867508"/>
              <a:gd name="connsiteX9" fmla="*/ 9150246 w 9152614"/>
              <a:gd name="connsiteY9" fmla="*/ 6862762 h 6867508"/>
              <a:gd name="connsiteX10" fmla="*/ 0 w 9152614"/>
              <a:gd name="connsiteY10" fmla="*/ 6867508 h 6867508"/>
              <a:gd name="connsiteX11" fmla="*/ 6255 w 9152614"/>
              <a:gd name="connsiteY11" fmla="*/ 141 h 6867508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47851 w 9152614"/>
              <a:gd name="connsiteY3" fmla="*/ 111779 h 6869749"/>
              <a:gd name="connsiteX4" fmla="*/ 6949969 w 9152614"/>
              <a:gd name="connsiteY4" fmla="*/ 111779 h 6869749"/>
              <a:gd name="connsiteX5" fmla="*/ 6949969 w 9152614"/>
              <a:gd name="connsiteY5" fmla="*/ 1059516 h 6869749"/>
              <a:gd name="connsiteX6" fmla="*/ 9050233 w 9152614"/>
              <a:gd name="connsiteY6" fmla="*/ 1059516 h 6869749"/>
              <a:gd name="connsiteX7" fmla="*/ 9050233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47851 w 9152614"/>
              <a:gd name="connsiteY3" fmla="*/ 111779 h 6869749"/>
              <a:gd name="connsiteX4" fmla="*/ 6949969 w 9152614"/>
              <a:gd name="connsiteY4" fmla="*/ 111779 h 6869749"/>
              <a:gd name="connsiteX5" fmla="*/ 6949969 w 9152614"/>
              <a:gd name="connsiteY5" fmla="*/ 1059516 h 6869749"/>
              <a:gd name="connsiteX6" fmla="*/ 9050233 w 9152614"/>
              <a:gd name="connsiteY6" fmla="*/ 1059516 h 6869749"/>
              <a:gd name="connsiteX7" fmla="*/ 9083570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69282 w 9152614"/>
              <a:gd name="connsiteY3" fmla="*/ 114161 h 6869749"/>
              <a:gd name="connsiteX4" fmla="*/ 6949969 w 9152614"/>
              <a:gd name="connsiteY4" fmla="*/ 111779 h 6869749"/>
              <a:gd name="connsiteX5" fmla="*/ 6949969 w 9152614"/>
              <a:gd name="connsiteY5" fmla="*/ 1059516 h 6869749"/>
              <a:gd name="connsiteX6" fmla="*/ 9050233 w 9152614"/>
              <a:gd name="connsiteY6" fmla="*/ 1059516 h 6869749"/>
              <a:gd name="connsiteX7" fmla="*/ 9083570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69282 w 9152614"/>
              <a:gd name="connsiteY3" fmla="*/ 114161 h 6869749"/>
              <a:gd name="connsiteX4" fmla="*/ 6949969 w 9152614"/>
              <a:gd name="connsiteY4" fmla="*/ 111779 h 6869749"/>
              <a:gd name="connsiteX5" fmla="*/ 6949969 w 9152614"/>
              <a:gd name="connsiteY5" fmla="*/ 1059516 h 6869749"/>
              <a:gd name="connsiteX6" fmla="*/ 9050233 w 9152614"/>
              <a:gd name="connsiteY6" fmla="*/ 1059516 h 6869749"/>
              <a:gd name="connsiteX7" fmla="*/ 9050233 w 9152614"/>
              <a:gd name="connsiteY7" fmla="*/ 111780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50233 w 9152614"/>
              <a:gd name="connsiteY5" fmla="*/ 1059516 h 6869749"/>
              <a:gd name="connsiteX6" fmla="*/ 9050233 w 9152614"/>
              <a:gd name="connsiteY6" fmla="*/ 111780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50233 w 9152614"/>
              <a:gd name="connsiteY5" fmla="*/ 1059516 h 6869749"/>
              <a:gd name="connsiteX6" fmla="*/ 9076427 w 9152614"/>
              <a:gd name="connsiteY6" fmla="*/ 126067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50233 w 9152614"/>
              <a:gd name="connsiteY5" fmla="*/ 1059516 h 6869749"/>
              <a:gd name="connsiteX6" fmla="*/ 9052615 w 9152614"/>
              <a:gd name="connsiteY6" fmla="*/ 114161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50233 w 9152614"/>
              <a:gd name="connsiteY5" fmla="*/ 1059516 h 6869749"/>
              <a:gd name="connsiteX6" fmla="*/ 9093096 w 9152614"/>
              <a:gd name="connsiteY6" fmla="*/ 118924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50233 w 9152614"/>
              <a:gd name="connsiteY5" fmla="*/ 1059516 h 6869749"/>
              <a:gd name="connsiteX6" fmla="*/ 9047853 w 9152614"/>
              <a:gd name="connsiteY6" fmla="*/ 116543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47852 w 9152614"/>
              <a:gd name="connsiteY5" fmla="*/ 1095235 h 6869749"/>
              <a:gd name="connsiteX6" fmla="*/ 9047853 w 9152614"/>
              <a:gd name="connsiteY6" fmla="*/ 116543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78809 w 9152614"/>
              <a:gd name="connsiteY5" fmla="*/ 1095235 h 6869749"/>
              <a:gd name="connsiteX6" fmla="*/ 9047853 w 9152614"/>
              <a:gd name="connsiteY6" fmla="*/ 116543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9969 w 9152614"/>
              <a:gd name="connsiteY3" fmla="*/ 111779 h 6869749"/>
              <a:gd name="connsiteX4" fmla="*/ 6949969 w 9152614"/>
              <a:gd name="connsiteY4" fmla="*/ 1059516 h 6869749"/>
              <a:gd name="connsiteX5" fmla="*/ 9050234 w 9152614"/>
              <a:gd name="connsiteY5" fmla="*/ 1061898 h 6869749"/>
              <a:gd name="connsiteX6" fmla="*/ 9047853 w 9152614"/>
              <a:gd name="connsiteY6" fmla="*/ 116543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07106 w 9152614"/>
              <a:gd name="connsiteY3" fmla="*/ 57010 h 6869749"/>
              <a:gd name="connsiteX4" fmla="*/ 6949969 w 9152614"/>
              <a:gd name="connsiteY4" fmla="*/ 1059516 h 6869749"/>
              <a:gd name="connsiteX5" fmla="*/ 9050234 w 9152614"/>
              <a:gd name="connsiteY5" fmla="*/ 1061898 h 6869749"/>
              <a:gd name="connsiteX6" fmla="*/ 9047853 w 9152614"/>
              <a:gd name="connsiteY6" fmla="*/ 116543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6947588 w 9152614"/>
              <a:gd name="connsiteY3" fmla="*/ 111778 h 6869749"/>
              <a:gd name="connsiteX4" fmla="*/ 6949969 w 9152614"/>
              <a:gd name="connsiteY4" fmla="*/ 1059516 h 6869749"/>
              <a:gd name="connsiteX5" fmla="*/ 9050234 w 9152614"/>
              <a:gd name="connsiteY5" fmla="*/ 1061898 h 6869749"/>
              <a:gd name="connsiteX6" fmla="*/ 9047853 w 9152614"/>
              <a:gd name="connsiteY6" fmla="*/ 116543 h 6869749"/>
              <a:gd name="connsiteX7" fmla="*/ 9152614 w 9152614"/>
              <a:gd name="connsiteY7" fmla="*/ 0 h 6869749"/>
              <a:gd name="connsiteX8" fmla="*/ 9150246 w 9152614"/>
              <a:gd name="connsiteY8" fmla="*/ 6865003 h 6869749"/>
              <a:gd name="connsiteX9" fmla="*/ 0 w 9152614"/>
              <a:gd name="connsiteY9" fmla="*/ 6869749 h 6869749"/>
              <a:gd name="connsiteX10" fmla="*/ 6255 w 9152614"/>
              <a:gd name="connsiteY10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8083444 w 9152614"/>
              <a:gd name="connsiteY3" fmla="*/ 57012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4 w 9152614"/>
              <a:gd name="connsiteY6" fmla="*/ 1061898 h 6869749"/>
              <a:gd name="connsiteX7" fmla="*/ 9047853 w 9152614"/>
              <a:gd name="connsiteY7" fmla="*/ 116543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4 w 9152614"/>
              <a:gd name="connsiteY6" fmla="*/ 1061898 h 6869749"/>
              <a:gd name="connsiteX7" fmla="*/ 9047853 w 9152614"/>
              <a:gd name="connsiteY7" fmla="*/ 116543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4 w 9152614"/>
              <a:gd name="connsiteY6" fmla="*/ 1061898 h 6869749"/>
              <a:gd name="connsiteX7" fmla="*/ 9119291 w 9152614"/>
              <a:gd name="connsiteY7" fmla="*/ 159406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4 w 9152614"/>
              <a:gd name="connsiteY6" fmla="*/ 1061898 h 6869749"/>
              <a:gd name="connsiteX7" fmla="*/ 9119291 w 9152614"/>
              <a:gd name="connsiteY7" fmla="*/ 159406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4 w 9152614"/>
              <a:gd name="connsiteY6" fmla="*/ 1061898 h 6869749"/>
              <a:gd name="connsiteX7" fmla="*/ 9050235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93097 w 9152614"/>
              <a:gd name="connsiteY6" fmla="*/ 1107142 h 6869749"/>
              <a:gd name="connsiteX7" fmla="*/ 9050235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93097 w 9152614"/>
              <a:gd name="connsiteY6" fmla="*/ 1107142 h 6869749"/>
              <a:gd name="connsiteX7" fmla="*/ 9050235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5 w 9152614"/>
              <a:gd name="connsiteY6" fmla="*/ 1061898 h 6869749"/>
              <a:gd name="connsiteX7" fmla="*/ 9050235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5 w 9152614"/>
              <a:gd name="connsiteY6" fmla="*/ 1061898 h 6869749"/>
              <a:gd name="connsiteX7" fmla="*/ 9033567 w 9152614"/>
              <a:gd name="connsiteY7" fmla="*/ 83205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5 w 9152614"/>
              <a:gd name="connsiteY6" fmla="*/ 1061898 h 6869749"/>
              <a:gd name="connsiteX7" fmla="*/ 9033567 w 9152614"/>
              <a:gd name="connsiteY7" fmla="*/ 83205 h 6869749"/>
              <a:gd name="connsiteX8" fmla="*/ 9095475 w 9152614"/>
              <a:gd name="connsiteY8" fmla="*/ 35581 h 6869749"/>
              <a:gd name="connsiteX9" fmla="*/ 9152614 w 9152614"/>
              <a:gd name="connsiteY9" fmla="*/ 0 h 6869749"/>
              <a:gd name="connsiteX10" fmla="*/ 9150246 w 9152614"/>
              <a:gd name="connsiteY10" fmla="*/ 6865003 h 6869749"/>
              <a:gd name="connsiteX11" fmla="*/ 0 w 9152614"/>
              <a:gd name="connsiteY11" fmla="*/ 6869749 h 6869749"/>
              <a:gd name="connsiteX12" fmla="*/ 6255 w 9152614"/>
              <a:gd name="connsiteY12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85950 w 9152614"/>
              <a:gd name="connsiteY3" fmla="*/ 73681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33567 w 9152614"/>
              <a:gd name="connsiteY8" fmla="*/ 83205 h 6869749"/>
              <a:gd name="connsiteX9" fmla="*/ 9095475 w 9152614"/>
              <a:gd name="connsiteY9" fmla="*/ 35581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28812 w 9152614"/>
              <a:gd name="connsiteY3" fmla="*/ 78443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33567 w 9152614"/>
              <a:gd name="connsiteY8" fmla="*/ 83205 h 6869749"/>
              <a:gd name="connsiteX9" fmla="*/ 9095475 w 9152614"/>
              <a:gd name="connsiteY9" fmla="*/ 35581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28812 w 9152614"/>
              <a:gd name="connsiteY3" fmla="*/ 78443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107386 w 9152614"/>
              <a:gd name="connsiteY8" fmla="*/ 180837 h 6869749"/>
              <a:gd name="connsiteX9" fmla="*/ 9095475 w 9152614"/>
              <a:gd name="connsiteY9" fmla="*/ 35581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28812 w 9152614"/>
              <a:gd name="connsiteY3" fmla="*/ 78443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50236 w 9152614"/>
              <a:gd name="connsiteY8" fmla="*/ 104637 h 6869749"/>
              <a:gd name="connsiteX9" fmla="*/ 9095475 w 9152614"/>
              <a:gd name="connsiteY9" fmla="*/ 35581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28812 w 9152614"/>
              <a:gd name="connsiteY3" fmla="*/ 78443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50236 w 9152614"/>
              <a:gd name="connsiteY8" fmla="*/ 109399 h 6869749"/>
              <a:gd name="connsiteX9" fmla="*/ 9095475 w 9152614"/>
              <a:gd name="connsiteY9" fmla="*/ 35581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07381 w 9152614"/>
              <a:gd name="connsiteY3" fmla="*/ 57012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50236 w 9152614"/>
              <a:gd name="connsiteY8" fmla="*/ 109399 h 6869749"/>
              <a:gd name="connsiteX9" fmla="*/ 9095475 w 9152614"/>
              <a:gd name="connsiteY9" fmla="*/ 35581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07381 w 9152614"/>
              <a:gd name="connsiteY3" fmla="*/ 57012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50236 w 9152614"/>
              <a:gd name="connsiteY8" fmla="*/ 109399 h 6869749"/>
              <a:gd name="connsiteX9" fmla="*/ 9109763 w 9152614"/>
              <a:gd name="connsiteY9" fmla="*/ 59393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07381 w 9152614"/>
              <a:gd name="connsiteY3" fmla="*/ 57012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50236 w 9152614"/>
              <a:gd name="connsiteY8" fmla="*/ 109399 h 6869749"/>
              <a:gd name="connsiteX9" fmla="*/ 9114525 w 9152614"/>
              <a:gd name="connsiteY9" fmla="*/ 107018 h 6869749"/>
              <a:gd name="connsiteX10" fmla="*/ 9152614 w 9152614"/>
              <a:gd name="connsiteY10" fmla="*/ 0 h 6869749"/>
              <a:gd name="connsiteX11" fmla="*/ 9150246 w 9152614"/>
              <a:gd name="connsiteY11" fmla="*/ 6865003 h 6869749"/>
              <a:gd name="connsiteX12" fmla="*/ 0 w 9152614"/>
              <a:gd name="connsiteY12" fmla="*/ 6869749 h 6869749"/>
              <a:gd name="connsiteX13" fmla="*/ 6255 w 9152614"/>
              <a:gd name="connsiteY13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107381 w 9152614"/>
              <a:gd name="connsiteY3" fmla="*/ 57012 h 6869749"/>
              <a:gd name="connsiteX4" fmla="*/ 9052612 w 9152614"/>
              <a:gd name="connsiteY4" fmla="*/ 111781 h 6869749"/>
              <a:gd name="connsiteX5" fmla="*/ 6947588 w 9152614"/>
              <a:gd name="connsiteY5" fmla="*/ 111778 h 6869749"/>
              <a:gd name="connsiteX6" fmla="*/ 6949969 w 9152614"/>
              <a:gd name="connsiteY6" fmla="*/ 1059516 h 6869749"/>
              <a:gd name="connsiteX7" fmla="*/ 9050235 w 9152614"/>
              <a:gd name="connsiteY7" fmla="*/ 1061898 h 6869749"/>
              <a:gd name="connsiteX8" fmla="*/ 9050236 w 9152614"/>
              <a:gd name="connsiteY8" fmla="*/ 109399 h 6869749"/>
              <a:gd name="connsiteX9" fmla="*/ 9152614 w 9152614"/>
              <a:gd name="connsiteY9" fmla="*/ 0 h 6869749"/>
              <a:gd name="connsiteX10" fmla="*/ 9150246 w 9152614"/>
              <a:gd name="connsiteY10" fmla="*/ 6865003 h 6869749"/>
              <a:gd name="connsiteX11" fmla="*/ 0 w 9152614"/>
              <a:gd name="connsiteY11" fmla="*/ 6869749 h 6869749"/>
              <a:gd name="connsiteX12" fmla="*/ 6255 w 9152614"/>
              <a:gd name="connsiteY12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5 w 9152614"/>
              <a:gd name="connsiteY6" fmla="*/ 1061898 h 6869749"/>
              <a:gd name="connsiteX7" fmla="*/ 9050236 w 9152614"/>
              <a:gd name="connsiteY7" fmla="*/ 109399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50235 w 9152614"/>
              <a:gd name="connsiteY6" fmla="*/ 1061898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76428 w 9152614"/>
              <a:gd name="connsiteY6" fmla="*/ 1090473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76428 w 9152614"/>
              <a:gd name="connsiteY6" fmla="*/ 1090473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9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28537 w 9152614"/>
              <a:gd name="connsiteY5" fmla="*/ 1090472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28537 w 9152614"/>
              <a:gd name="connsiteY5" fmla="*/ 1090472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7587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09487 w 9152614"/>
              <a:gd name="connsiteY5" fmla="*/ 1099997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09487 w 9152614"/>
              <a:gd name="connsiteY5" fmla="*/ 1099997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14250 w 9152614"/>
              <a:gd name="connsiteY4" fmla="*/ 68916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14250 w 9152614"/>
              <a:gd name="connsiteY4" fmla="*/ 68916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7588 w 9152614"/>
              <a:gd name="connsiteY4" fmla="*/ 111778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11869 w 9152614"/>
              <a:gd name="connsiteY4" fmla="*/ 95109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11869 w 9152614"/>
              <a:gd name="connsiteY4" fmla="*/ 95109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949968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823761 w 9152614"/>
              <a:gd name="connsiteY5" fmla="*/ 1073804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823761 w 9152614"/>
              <a:gd name="connsiteY5" fmla="*/ 1073804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854719 w 9152614"/>
              <a:gd name="connsiteY4" fmla="*/ 59390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854719 w 9152614"/>
              <a:gd name="connsiteY4" fmla="*/ 59390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50236 w 9152614"/>
              <a:gd name="connsiteY7" fmla="*/ 11178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52612 w 9152614"/>
              <a:gd name="connsiteY3" fmla="*/ 111781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85954 w 9152614"/>
              <a:gd name="connsiteY7" fmla="*/ 13083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28799 w 9152614"/>
              <a:gd name="connsiteY3" fmla="*/ 59394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85954 w 9152614"/>
              <a:gd name="connsiteY7" fmla="*/ 13083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28799 w 9152614"/>
              <a:gd name="connsiteY3" fmla="*/ 59394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85954 w 9152614"/>
              <a:gd name="connsiteY7" fmla="*/ 130831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28799 w 9152614"/>
              <a:gd name="connsiteY3" fmla="*/ 59394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47854 w 9152614"/>
              <a:gd name="connsiteY7" fmla="*/ 116544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9150245 w 9152614"/>
              <a:gd name="connsiteY2" fmla="*/ 2241 h 6869749"/>
              <a:gd name="connsiteX3" fmla="*/ 9047849 w 9152614"/>
              <a:gd name="connsiteY3" fmla="*/ 116544 h 6869749"/>
              <a:gd name="connsiteX4" fmla="*/ 6949969 w 9152614"/>
              <a:gd name="connsiteY4" fmla="*/ 114159 h 6869749"/>
              <a:gd name="connsiteX5" fmla="*/ 6952349 w 9152614"/>
              <a:gd name="connsiteY5" fmla="*/ 1059516 h 6869749"/>
              <a:gd name="connsiteX6" fmla="*/ 9047853 w 9152614"/>
              <a:gd name="connsiteY6" fmla="*/ 1059516 h 6869749"/>
              <a:gd name="connsiteX7" fmla="*/ 9047854 w 9152614"/>
              <a:gd name="connsiteY7" fmla="*/ 116544 h 6869749"/>
              <a:gd name="connsiteX8" fmla="*/ 9152614 w 9152614"/>
              <a:gd name="connsiteY8" fmla="*/ 0 h 6869749"/>
              <a:gd name="connsiteX9" fmla="*/ 9150246 w 9152614"/>
              <a:gd name="connsiteY9" fmla="*/ 6865003 h 6869749"/>
              <a:gd name="connsiteX10" fmla="*/ 0 w 9152614"/>
              <a:gd name="connsiteY10" fmla="*/ 6869749 h 6869749"/>
              <a:gd name="connsiteX11" fmla="*/ 6255 w 9152614"/>
              <a:gd name="connsiteY11" fmla="*/ 2382 h 6869749"/>
              <a:gd name="connsiteX0" fmla="*/ 6255 w 9152614"/>
              <a:gd name="connsiteY0" fmla="*/ 2382 h 6869749"/>
              <a:gd name="connsiteX1" fmla="*/ 4578245 w 9152614"/>
              <a:gd name="connsiteY1" fmla="*/ 2241 h 6869749"/>
              <a:gd name="connsiteX2" fmla="*/ 8645419 w 9152614"/>
              <a:gd name="connsiteY2" fmla="*/ 2243 h 6869749"/>
              <a:gd name="connsiteX3" fmla="*/ 9150245 w 9152614"/>
              <a:gd name="connsiteY3" fmla="*/ 2241 h 6869749"/>
              <a:gd name="connsiteX4" fmla="*/ 9047849 w 9152614"/>
              <a:gd name="connsiteY4" fmla="*/ 116544 h 6869749"/>
              <a:gd name="connsiteX5" fmla="*/ 6949969 w 9152614"/>
              <a:gd name="connsiteY5" fmla="*/ 114159 h 6869749"/>
              <a:gd name="connsiteX6" fmla="*/ 6952349 w 9152614"/>
              <a:gd name="connsiteY6" fmla="*/ 1059516 h 6869749"/>
              <a:gd name="connsiteX7" fmla="*/ 9047853 w 9152614"/>
              <a:gd name="connsiteY7" fmla="*/ 1059516 h 6869749"/>
              <a:gd name="connsiteX8" fmla="*/ 9047854 w 9152614"/>
              <a:gd name="connsiteY8" fmla="*/ 116544 h 6869749"/>
              <a:gd name="connsiteX9" fmla="*/ 9152614 w 9152614"/>
              <a:gd name="connsiteY9" fmla="*/ 0 h 6869749"/>
              <a:gd name="connsiteX10" fmla="*/ 9150246 w 9152614"/>
              <a:gd name="connsiteY10" fmla="*/ 6865003 h 6869749"/>
              <a:gd name="connsiteX11" fmla="*/ 0 w 9152614"/>
              <a:gd name="connsiteY11" fmla="*/ 6869749 h 6869749"/>
              <a:gd name="connsiteX12" fmla="*/ 6255 w 9152614"/>
              <a:gd name="connsiteY12" fmla="*/ 2382 h 6869749"/>
              <a:gd name="connsiteX0" fmla="*/ 6255 w 9152614"/>
              <a:gd name="connsiteY0" fmla="*/ 4901 h 6872268"/>
              <a:gd name="connsiteX1" fmla="*/ 4578245 w 9152614"/>
              <a:gd name="connsiteY1" fmla="*/ 4760 h 6872268"/>
              <a:gd name="connsiteX2" fmla="*/ 9150244 w 9152614"/>
              <a:gd name="connsiteY2" fmla="*/ 0 h 6872268"/>
              <a:gd name="connsiteX3" fmla="*/ 9150245 w 9152614"/>
              <a:gd name="connsiteY3" fmla="*/ 4760 h 6872268"/>
              <a:gd name="connsiteX4" fmla="*/ 9047849 w 9152614"/>
              <a:gd name="connsiteY4" fmla="*/ 119063 h 6872268"/>
              <a:gd name="connsiteX5" fmla="*/ 6949969 w 9152614"/>
              <a:gd name="connsiteY5" fmla="*/ 116678 h 6872268"/>
              <a:gd name="connsiteX6" fmla="*/ 6952349 w 9152614"/>
              <a:gd name="connsiteY6" fmla="*/ 1062035 h 6872268"/>
              <a:gd name="connsiteX7" fmla="*/ 9047853 w 9152614"/>
              <a:gd name="connsiteY7" fmla="*/ 1062035 h 6872268"/>
              <a:gd name="connsiteX8" fmla="*/ 9047854 w 9152614"/>
              <a:gd name="connsiteY8" fmla="*/ 119063 h 6872268"/>
              <a:gd name="connsiteX9" fmla="*/ 9152614 w 9152614"/>
              <a:gd name="connsiteY9" fmla="*/ 2519 h 6872268"/>
              <a:gd name="connsiteX10" fmla="*/ 9150246 w 9152614"/>
              <a:gd name="connsiteY10" fmla="*/ 6867522 h 6872268"/>
              <a:gd name="connsiteX11" fmla="*/ 0 w 9152614"/>
              <a:gd name="connsiteY11" fmla="*/ 6872268 h 6872268"/>
              <a:gd name="connsiteX12" fmla="*/ 6255 w 9152614"/>
              <a:gd name="connsiteY12" fmla="*/ 4901 h 6872268"/>
              <a:gd name="connsiteX0" fmla="*/ 3874 w 9152614"/>
              <a:gd name="connsiteY0" fmla="*/ 2520 h 6872268"/>
              <a:gd name="connsiteX1" fmla="*/ 4578245 w 9152614"/>
              <a:gd name="connsiteY1" fmla="*/ 4760 h 6872268"/>
              <a:gd name="connsiteX2" fmla="*/ 9150244 w 9152614"/>
              <a:gd name="connsiteY2" fmla="*/ 0 h 6872268"/>
              <a:gd name="connsiteX3" fmla="*/ 9150245 w 9152614"/>
              <a:gd name="connsiteY3" fmla="*/ 4760 h 6872268"/>
              <a:gd name="connsiteX4" fmla="*/ 9047849 w 9152614"/>
              <a:gd name="connsiteY4" fmla="*/ 119063 h 6872268"/>
              <a:gd name="connsiteX5" fmla="*/ 6949969 w 9152614"/>
              <a:gd name="connsiteY5" fmla="*/ 116678 h 6872268"/>
              <a:gd name="connsiteX6" fmla="*/ 6952349 w 9152614"/>
              <a:gd name="connsiteY6" fmla="*/ 1062035 h 6872268"/>
              <a:gd name="connsiteX7" fmla="*/ 9047853 w 9152614"/>
              <a:gd name="connsiteY7" fmla="*/ 1062035 h 6872268"/>
              <a:gd name="connsiteX8" fmla="*/ 9047854 w 9152614"/>
              <a:gd name="connsiteY8" fmla="*/ 119063 h 6872268"/>
              <a:gd name="connsiteX9" fmla="*/ 9152614 w 9152614"/>
              <a:gd name="connsiteY9" fmla="*/ 2519 h 6872268"/>
              <a:gd name="connsiteX10" fmla="*/ 9150246 w 9152614"/>
              <a:gd name="connsiteY10" fmla="*/ 6867522 h 6872268"/>
              <a:gd name="connsiteX11" fmla="*/ 0 w 9152614"/>
              <a:gd name="connsiteY11" fmla="*/ 6872268 h 6872268"/>
              <a:gd name="connsiteX12" fmla="*/ 3874 w 9152614"/>
              <a:gd name="connsiteY12" fmla="*/ 2520 h 6872268"/>
              <a:gd name="connsiteX0" fmla="*/ 12187 w 9160927"/>
              <a:gd name="connsiteY0" fmla="*/ 2520 h 6880580"/>
              <a:gd name="connsiteX1" fmla="*/ 4586558 w 9160927"/>
              <a:gd name="connsiteY1" fmla="*/ 4760 h 6880580"/>
              <a:gd name="connsiteX2" fmla="*/ 9158557 w 9160927"/>
              <a:gd name="connsiteY2" fmla="*/ 0 h 6880580"/>
              <a:gd name="connsiteX3" fmla="*/ 9158558 w 9160927"/>
              <a:gd name="connsiteY3" fmla="*/ 4760 h 6880580"/>
              <a:gd name="connsiteX4" fmla="*/ 9056162 w 9160927"/>
              <a:gd name="connsiteY4" fmla="*/ 119063 h 6880580"/>
              <a:gd name="connsiteX5" fmla="*/ 6958282 w 9160927"/>
              <a:gd name="connsiteY5" fmla="*/ 116678 h 6880580"/>
              <a:gd name="connsiteX6" fmla="*/ 6960662 w 9160927"/>
              <a:gd name="connsiteY6" fmla="*/ 1062035 h 6880580"/>
              <a:gd name="connsiteX7" fmla="*/ 9056166 w 9160927"/>
              <a:gd name="connsiteY7" fmla="*/ 1062035 h 6880580"/>
              <a:gd name="connsiteX8" fmla="*/ 9056167 w 9160927"/>
              <a:gd name="connsiteY8" fmla="*/ 119063 h 6880580"/>
              <a:gd name="connsiteX9" fmla="*/ 9160927 w 9160927"/>
              <a:gd name="connsiteY9" fmla="*/ 2519 h 6880580"/>
              <a:gd name="connsiteX10" fmla="*/ 9158559 w 9160927"/>
              <a:gd name="connsiteY10" fmla="*/ 6867522 h 6880580"/>
              <a:gd name="connsiteX11" fmla="*/ 0 w 9160927"/>
              <a:gd name="connsiteY11" fmla="*/ 6880580 h 6880580"/>
              <a:gd name="connsiteX12" fmla="*/ 12187 w 9160927"/>
              <a:gd name="connsiteY12" fmla="*/ 2520 h 6880580"/>
              <a:gd name="connsiteX0" fmla="*/ 12187 w 9175212"/>
              <a:gd name="connsiteY0" fmla="*/ 2520 h 6880580"/>
              <a:gd name="connsiteX1" fmla="*/ 4586558 w 9175212"/>
              <a:gd name="connsiteY1" fmla="*/ 4760 h 6880580"/>
              <a:gd name="connsiteX2" fmla="*/ 9158557 w 9175212"/>
              <a:gd name="connsiteY2" fmla="*/ 0 h 6880580"/>
              <a:gd name="connsiteX3" fmla="*/ 9158558 w 9175212"/>
              <a:gd name="connsiteY3" fmla="*/ 4760 h 6880580"/>
              <a:gd name="connsiteX4" fmla="*/ 9056162 w 9175212"/>
              <a:gd name="connsiteY4" fmla="*/ 119063 h 6880580"/>
              <a:gd name="connsiteX5" fmla="*/ 6958282 w 9175212"/>
              <a:gd name="connsiteY5" fmla="*/ 116678 h 6880580"/>
              <a:gd name="connsiteX6" fmla="*/ 6960662 w 9175212"/>
              <a:gd name="connsiteY6" fmla="*/ 1062035 h 6880580"/>
              <a:gd name="connsiteX7" fmla="*/ 9056166 w 9175212"/>
              <a:gd name="connsiteY7" fmla="*/ 1062035 h 6880580"/>
              <a:gd name="connsiteX8" fmla="*/ 9056167 w 9175212"/>
              <a:gd name="connsiteY8" fmla="*/ 119063 h 6880580"/>
              <a:gd name="connsiteX9" fmla="*/ 9160927 w 9175212"/>
              <a:gd name="connsiteY9" fmla="*/ 2519 h 6880580"/>
              <a:gd name="connsiteX10" fmla="*/ 9175184 w 9175212"/>
              <a:gd name="connsiteY10" fmla="*/ 6875835 h 6880580"/>
              <a:gd name="connsiteX11" fmla="*/ 0 w 9175212"/>
              <a:gd name="connsiteY11" fmla="*/ 6880580 h 6880580"/>
              <a:gd name="connsiteX12" fmla="*/ 12187 w 9175212"/>
              <a:gd name="connsiteY12" fmla="*/ 2520 h 6880580"/>
              <a:gd name="connsiteX0" fmla="*/ 12187 w 9849834"/>
              <a:gd name="connsiteY0" fmla="*/ 343708 h 7221768"/>
              <a:gd name="connsiteX1" fmla="*/ 4586558 w 9849834"/>
              <a:gd name="connsiteY1" fmla="*/ 345948 h 7221768"/>
              <a:gd name="connsiteX2" fmla="*/ 9158557 w 9849834"/>
              <a:gd name="connsiteY2" fmla="*/ 341188 h 7221768"/>
              <a:gd name="connsiteX3" fmla="*/ 9158558 w 9849834"/>
              <a:gd name="connsiteY3" fmla="*/ 345948 h 7221768"/>
              <a:gd name="connsiteX4" fmla="*/ 9056162 w 9849834"/>
              <a:gd name="connsiteY4" fmla="*/ 460251 h 7221768"/>
              <a:gd name="connsiteX5" fmla="*/ 6958282 w 9849834"/>
              <a:gd name="connsiteY5" fmla="*/ 457866 h 7221768"/>
              <a:gd name="connsiteX6" fmla="*/ 6960662 w 9849834"/>
              <a:gd name="connsiteY6" fmla="*/ 1403223 h 7221768"/>
              <a:gd name="connsiteX7" fmla="*/ 9056166 w 9849834"/>
              <a:gd name="connsiteY7" fmla="*/ 1403223 h 7221768"/>
              <a:gd name="connsiteX8" fmla="*/ 9056167 w 9849834"/>
              <a:gd name="connsiteY8" fmla="*/ 460251 h 7221768"/>
              <a:gd name="connsiteX9" fmla="*/ 9160927 w 9849834"/>
              <a:gd name="connsiteY9" fmla="*/ 343707 h 7221768"/>
              <a:gd name="connsiteX10" fmla="*/ 9158557 w 9849834"/>
              <a:gd name="connsiteY10" fmla="*/ 570394 h 7221768"/>
              <a:gd name="connsiteX11" fmla="*/ 9175184 w 9849834"/>
              <a:gd name="connsiteY11" fmla="*/ 7217023 h 7221768"/>
              <a:gd name="connsiteX12" fmla="*/ 0 w 9849834"/>
              <a:gd name="connsiteY12" fmla="*/ 7221768 h 7221768"/>
              <a:gd name="connsiteX13" fmla="*/ 12187 w 9849834"/>
              <a:gd name="connsiteY13" fmla="*/ 343708 h 7221768"/>
              <a:gd name="connsiteX0" fmla="*/ 12187 w 9175184"/>
              <a:gd name="connsiteY0" fmla="*/ 343708 h 7221768"/>
              <a:gd name="connsiteX1" fmla="*/ 4586558 w 9175184"/>
              <a:gd name="connsiteY1" fmla="*/ 345948 h 7221768"/>
              <a:gd name="connsiteX2" fmla="*/ 9158557 w 9175184"/>
              <a:gd name="connsiteY2" fmla="*/ 341188 h 7221768"/>
              <a:gd name="connsiteX3" fmla="*/ 9158558 w 9175184"/>
              <a:gd name="connsiteY3" fmla="*/ 345948 h 7221768"/>
              <a:gd name="connsiteX4" fmla="*/ 9056162 w 9175184"/>
              <a:gd name="connsiteY4" fmla="*/ 460251 h 7221768"/>
              <a:gd name="connsiteX5" fmla="*/ 6958282 w 9175184"/>
              <a:gd name="connsiteY5" fmla="*/ 457866 h 7221768"/>
              <a:gd name="connsiteX6" fmla="*/ 6960662 w 9175184"/>
              <a:gd name="connsiteY6" fmla="*/ 1403223 h 7221768"/>
              <a:gd name="connsiteX7" fmla="*/ 9056166 w 9175184"/>
              <a:gd name="connsiteY7" fmla="*/ 1403223 h 7221768"/>
              <a:gd name="connsiteX8" fmla="*/ 9056167 w 9175184"/>
              <a:gd name="connsiteY8" fmla="*/ 460251 h 7221768"/>
              <a:gd name="connsiteX9" fmla="*/ 9160927 w 9175184"/>
              <a:gd name="connsiteY9" fmla="*/ 343707 h 7221768"/>
              <a:gd name="connsiteX10" fmla="*/ 9158557 w 9175184"/>
              <a:gd name="connsiteY10" fmla="*/ 570394 h 7221768"/>
              <a:gd name="connsiteX11" fmla="*/ 9175184 w 9175184"/>
              <a:gd name="connsiteY11" fmla="*/ 7217023 h 7221768"/>
              <a:gd name="connsiteX12" fmla="*/ 0 w 9175184"/>
              <a:gd name="connsiteY12" fmla="*/ 7221768 h 7221768"/>
              <a:gd name="connsiteX13" fmla="*/ 12187 w 9175184"/>
              <a:gd name="connsiteY13" fmla="*/ 343708 h 7221768"/>
              <a:gd name="connsiteX0" fmla="*/ 12187 w 9865171"/>
              <a:gd name="connsiteY0" fmla="*/ 99019 h 6977079"/>
              <a:gd name="connsiteX1" fmla="*/ 4586558 w 9865171"/>
              <a:gd name="connsiteY1" fmla="*/ 101259 h 6977079"/>
              <a:gd name="connsiteX2" fmla="*/ 9158557 w 9865171"/>
              <a:gd name="connsiteY2" fmla="*/ 96499 h 6977079"/>
              <a:gd name="connsiteX3" fmla="*/ 9158558 w 9865171"/>
              <a:gd name="connsiteY3" fmla="*/ 101259 h 6977079"/>
              <a:gd name="connsiteX4" fmla="*/ 9056162 w 9865171"/>
              <a:gd name="connsiteY4" fmla="*/ 215562 h 6977079"/>
              <a:gd name="connsiteX5" fmla="*/ 6958282 w 9865171"/>
              <a:gd name="connsiteY5" fmla="*/ 213177 h 6977079"/>
              <a:gd name="connsiteX6" fmla="*/ 6960662 w 9865171"/>
              <a:gd name="connsiteY6" fmla="*/ 1158534 h 6977079"/>
              <a:gd name="connsiteX7" fmla="*/ 9056166 w 9865171"/>
              <a:gd name="connsiteY7" fmla="*/ 1158534 h 6977079"/>
              <a:gd name="connsiteX8" fmla="*/ 9056167 w 9865171"/>
              <a:gd name="connsiteY8" fmla="*/ 215562 h 6977079"/>
              <a:gd name="connsiteX9" fmla="*/ 9160927 w 9865171"/>
              <a:gd name="connsiteY9" fmla="*/ 99018 h 6977079"/>
              <a:gd name="connsiteX10" fmla="*/ 9865139 w 9865171"/>
              <a:gd name="connsiteY10" fmla="*/ 749654 h 6977079"/>
              <a:gd name="connsiteX11" fmla="*/ 9175184 w 9865171"/>
              <a:gd name="connsiteY11" fmla="*/ 6972334 h 6977079"/>
              <a:gd name="connsiteX12" fmla="*/ 0 w 9865171"/>
              <a:gd name="connsiteY12" fmla="*/ 6977079 h 6977079"/>
              <a:gd name="connsiteX13" fmla="*/ 12187 w 9865171"/>
              <a:gd name="connsiteY13" fmla="*/ 99019 h 6977079"/>
              <a:gd name="connsiteX0" fmla="*/ 12187 w 9865171"/>
              <a:gd name="connsiteY0" fmla="*/ 2520 h 6880580"/>
              <a:gd name="connsiteX1" fmla="*/ 4586558 w 9865171"/>
              <a:gd name="connsiteY1" fmla="*/ 4760 h 6880580"/>
              <a:gd name="connsiteX2" fmla="*/ 9158557 w 9865171"/>
              <a:gd name="connsiteY2" fmla="*/ 0 h 6880580"/>
              <a:gd name="connsiteX3" fmla="*/ 9158558 w 9865171"/>
              <a:gd name="connsiteY3" fmla="*/ 4760 h 6880580"/>
              <a:gd name="connsiteX4" fmla="*/ 9056162 w 9865171"/>
              <a:gd name="connsiteY4" fmla="*/ 119063 h 6880580"/>
              <a:gd name="connsiteX5" fmla="*/ 6958282 w 9865171"/>
              <a:gd name="connsiteY5" fmla="*/ 116678 h 6880580"/>
              <a:gd name="connsiteX6" fmla="*/ 6960662 w 9865171"/>
              <a:gd name="connsiteY6" fmla="*/ 1062035 h 6880580"/>
              <a:gd name="connsiteX7" fmla="*/ 9056166 w 9865171"/>
              <a:gd name="connsiteY7" fmla="*/ 1062035 h 6880580"/>
              <a:gd name="connsiteX8" fmla="*/ 9056167 w 9865171"/>
              <a:gd name="connsiteY8" fmla="*/ 119063 h 6880580"/>
              <a:gd name="connsiteX9" fmla="*/ 9160927 w 9865171"/>
              <a:gd name="connsiteY9" fmla="*/ 2519 h 6880580"/>
              <a:gd name="connsiteX10" fmla="*/ 9865139 w 9865171"/>
              <a:gd name="connsiteY10" fmla="*/ 653155 h 6880580"/>
              <a:gd name="connsiteX11" fmla="*/ 9175184 w 9865171"/>
              <a:gd name="connsiteY11" fmla="*/ 6875835 h 6880580"/>
              <a:gd name="connsiteX12" fmla="*/ 0 w 9865171"/>
              <a:gd name="connsiteY12" fmla="*/ 6880580 h 6880580"/>
              <a:gd name="connsiteX13" fmla="*/ 12187 w 9865171"/>
              <a:gd name="connsiteY13" fmla="*/ 2520 h 6880580"/>
              <a:gd name="connsiteX0" fmla="*/ 12187 w 9865139"/>
              <a:gd name="connsiteY0" fmla="*/ 2520 h 6880580"/>
              <a:gd name="connsiteX1" fmla="*/ 4586558 w 9865139"/>
              <a:gd name="connsiteY1" fmla="*/ 4760 h 6880580"/>
              <a:gd name="connsiteX2" fmla="*/ 9158557 w 9865139"/>
              <a:gd name="connsiteY2" fmla="*/ 0 h 6880580"/>
              <a:gd name="connsiteX3" fmla="*/ 9158558 w 9865139"/>
              <a:gd name="connsiteY3" fmla="*/ 4760 h 6880580"/>
              <a:gd name="connsiteX4" fmla="*/ 9056162 w 9865139"/>
              <a:gd name="connsiteY4" fmla="*/ 119063 h 6880580"/>
              <a:gd name="connsiteX5" fmla="*/ 6958282 w 9865139"/>
              <a:gd name="connsiteY5" fmla="*/ 116678 h 6880580"/>
              <a:gd name="connsiteX6" fmla="*/ 6960662 w 9865139"/>
              <a:gd name="connsiteY6" fmla="*/ 1062035 h 6880580"/>
              <a:gd name="connsiteX7" fmla="*/ 9056166 w 9865139"/>
              <a:gd name="connsiteY7" fmla="*/ 1062035 h 6880580"/>
              <a:gd name="connsiteX8" fmla="*/ 9056167 w 9865139"/>
              <a:gd name="connsiteY8" fmla="*/ 119063 h 6880580"/>
              <a:gd name="connsiteX9" fmla="*/ 9160927 w 9865139"/>
              <a:gd name="connsiteY9" fmla="*/ 2519 h 6880580"/>
              <a:gd name="connsiteX10" fmla="*/ 9865139 w 9865139"/>
              <a:gd name="connsiteY10" fmla="*/ 653155 h 6880580"/>
              <a:gd name="connsiteX11" fmla="*/ 9175184 w 9865139"/>
              <a:gd name="connsiteY11" fmla="*/ 6875835 h 6880580"/>
              <a:gd name="connsiteX12" fmla="*/ 0 w 9865139"/>
              <a:gd name="connsiteY12" fmla="*/ 6880580 h 6880580"/>
              <a:gd name="connsiteX13" fmla="*/ 12187 w 9865139"/>
              <a:gd name="connsiteY13" fmla="*/ 2520 h 6880580"/>
              <a:gd name="connsiteX0" fmla="*/ 12187 w 9175184"/>
              <a:gd name="connsiteY0" fmla="*/ 2520 h 6880580"/>
              <a:gd name="connsiteX1" fmla="*/ 4586558 w 9175184"/>
              <a:gd name="connsiteY1" fmla="*/ 4760 h 6880580"/>
              <a:gd name="connsiteX2" fmla="*/ 9158557 w 9175184"/>
              <a:gd name="connsiteY2" fmla="*/ 0 h 6880580"/>
              <a:gd name="connsiteX3" fmla="*/ 9158558 w 9175184"/>
              <a:gd name="connsiteY3" fmla="*/ 4760 h 6880580"/>
              <a:gd name="connsiteX4" fmla="*/ 9056162 w 9175184"/>
              <a:gd name="connsiteY4" fmla="*/ 119063 h 6880580"/>
              <a:gd name="connsiteX5" fmla="*/ 6958282 w 9175184"/>
              <a:gd name="connsiteY5" fmla="*/ 116678 h 6880580"/>
              <a:gd name="connsiteX6" fmla="*/ 6960662 w 9175184"/>
              <a:gd name="connsiteY6" fmla="*/ 1062035 h 6880580"/>
              <a:gd name="connsiteX7" fmla="*/ 9056166 w 9175184"/>
              <a:gd name="connsiteY7" fmla="*/ 1062035 h 6880580"/>
              <a:gd name="connsiteX8" fmla="*/ 9056167 w 9175184"/>
              <a:gd name="connsiteY8" fmla="*/ 119063 h 6880580"/>
              <a:gd name="connsiteX9" fmla="*/ 9160927 w 9175184"/>
              <a:gd name="connsiteY9" fmla="*/ 2519 h 6880580"/>
              <a:gd name="connsiteX10" fmla="*/ 9175182 w 9175184"/>
              <a:gd name="connsiteY10" fmla="*/ 96202 h 6880580"/>
              <a:gd name="connsiteX11" fmla="*/ 9175184 w 9175184"/>
              <a:gd name="connsiteY11" fmla="*/ 6875835 h 6880580"/>
              <a:gd name="connsiteX12" fmla="*/ 0 w 9175184"/>
              <a:gd name="connsiteY12" fmla="*/ 6880580 h 6880580"/>
              <a:gd name="connsiteX13" fmla="*/ 12187 w 9175184"/>
              <a:gd name="connsiteY13" fmla="*/ 2520 h 6880580"/>
              <a:gd name="connsiteX0" fmla="*/ 12187 w 9333124"/>
              <a:gd name="connsiteY0" fmla="*/ 2520 h 6880580"/>
              <a:gd name="connsiteX1" fmla="*/ 4586558 w 9333124"/>
              <a:gd name="connsiteY1" fmla="*/ 4760 h 6880580"/>
              <a:gd name="connsiteX2" fmla="*/ 9158557 w 9333124"/>
              <a:gd name="connsiteY2" fmla="*/ 0 h 6880580"/>
              <a:gd name="connsiteX3" fmla="*/ 9158558 w 9333124"/>
              <a:gd name="connsiteY3" fmla="*/ 4760 h 6880580"/>
              <a:gd name="connsiteX4" fmla="*/ 9056162 w 9333124"/>
              <a:gd name="connsiteY4" fmla="*/ 119063 h 6880580"/>
              <a:gd name="connsiteX5" fmla="*/ 6958282 w 9333124"/>
              <a:gd name="connsiteY5" fmla="*/ 116678 h 6880580"/>
              <a:gd name="connsiteX6" fmla="*/ 6960662 w 9333124"/>
              <a:gd name="connsiteY6" fmla="*/ 1062035 h 6880580"/>
              <a:gd name="connsiteX7" fmla="*/ 9056166 w 9333124"/>
              <a:gd name="connsiteY7" fmla="*/ 1062035 h 6880580"/>
              <a:gd name="connsiteX8" fmla="*/ 9056167 w 9333124"/>
              <a:gd name="connsiteY8" fmla="*/ 119063 h 6880580"/>
              <a:gd name="connsiteX9" fmla="*/ 9160927 w 9333124"/>
              <a:gd name="connsiteY9" fmla="*/ 2519 h 6880580"/>
              <a:gd name="connsiteX10" fmla="*/ 9333124 w 9333124"/>
              <a:gd name="connsiteY10" fmla="*/ 337271 h 6880580"/>
              <a:gd name="connsiteX11" fmla="*/ 9175184 w 9333124"/>
              <a:gd name="connsiteY11" fmla="*/ 6875835 h 6880580"/>
              <a:gd name="connsiteX12" fmla="*/ 0 w 9333124"/>
              <a:gd name="connsiteY12" fmla="*/ 6880580 h 6880580"/>
              <a:gd name="connsiteX13" fmla="*/ 12187 w 9333124"/>
              <a:gd name="connsiteY13" fmla="*/ 2520 h 6880580"/>
              <a:gd name="connsiteX0" fmla="*/ 12187 w 9175184"/>
              <a:gd name="connsiteY0" fmla="*/ 2520 h 6880580"/>
              <a:gd name="connsiteX1" fmla="*/ 4586558 w 9175184"/>
              <a:gd name="connsiteY1" fmla="*/ 4760 h 6880580"/>
              <a:gd name="connsiteX2" fmla="*/ 9158557 w 9175184"/>
              <a:gd name="connsiteY2" fmla="*/ 0 h 6880580"/>
              <a:gd name="connsiteX3" fmla="*/ 9158558 w 9175184"/>
              <a:gd name="connsiteY3" fmla="*/ 4760 h 6880580"/>
              <a:gd name="connsiteX4" fmla="*/ 9056162 w 9175184"/>
              <a:gd name="connsiteY4" fmla="*/ 119063 h 6880580"/>
              <a:gd name="connsiteX5" fmla="*/ 6958282 w 9175184"/>
              <a:gd name="connsiteY5" fmla="*/ 116678 h 6880580"/>
              <a:gd name="connsiteX6" fmla="*/ 6960662 w 9175184"/>
              <a:gd name="connsiteY6" fmla="*/ 1062035 h 6880580"/>
              <a:gd name="connsiteX7" fmla="*/ 9056166 w 9175184"/>
              <a:gd name="connsiteY7" fmla="*/ 1062035 h 6880580"/>
              <a:gd name="connsiteX8" fmla="*/ 9056167 w 9175184"/>
              <a:gd name="connsiteY8" fmla="*/ 119063 h 6880580"/>
              <a:gd name="connsiteX9" fmla="*/ 9160927 w 9175184"/>
              <a:gd name="connsiteY9" fmla="*/ 2519 h 6880580"/>
              <a:gd name="connsiteX10" fmla="*/ 9166869 w 9175184"/>
              <a:gd name="connsiteY10" fmla="*/ 129453 h 6880580"/>
              <a:gd name="connsiteX11" fmla="*/ 9175184 w 9175184"/>
              <a:gd name="connsiteY11" fmla="*/ 6875835 h 6880580"/>
              <a:gd name="connsiteX12" fmla="*/ 0 w 9175184"/>
              <a:gd name="connsiteY12" fmla="*/ 6880580 h 6880580"/>
              <a:gd name="connsiteX13" fmla="*/ 12187 w 9175184"/>
              <a:gd name="connsiteY13" fmla="*/ 2520 h 6880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175184" h="6880580">
                <a:moveTo>
                  <a:pt x="12187" y="2520"/>
                </a:moveTo>
                <a:lnTo>
                  <a:pt x="4586558" y="4760"/>
                </a:lnTo>
                <a:lnTo>
                  <a:pt x="9158557" y="0"/>
                </a:lnTo>
                <a:cubicBezTo>
                  <a:pt x="9158557" y="1587"/>
                  <a:pt x="9158558" y="3173"/>
                  <a:pt x="9158558" y="4760"/>
                </a:cubicBezTo>
                <a:lnTo>
                  <a:pt x="9056162" y="119063"/>
                </a:lnTo>
                <a:lnTo>
                  <a:pt x="6958282" y="116678"/>
                </a:lnTo>
                <a:cubicBezTo>
                  <a:pt x="6959075" y="431797"/>
                  <a:pt x="6959869" y="746916"/>
                  <a:pt x="6960662" y="1062035"/>
                </a:cubicBezTo>
                <a:lnTo>
                  <a:pt x="9056166" y="1062035"/>
                </a:lnTo>
                <a:cubicBezTo>
                  <a:pt x="9056166" y="747711"/>
                  <a:pt x="9056167" y="433387"/>
                  <a:pt x="9056167" y="119063"/>
                </a:cubicBezTo>
                <a:lnTo>
                  <a:pt x="9160927" y="2519"/>
                </a:lnTo>
                <a:lnTo>
                  <a:pt x="9166869" y="129453"/>
                </a:lnTo>
                <a:cubicBezTo>
                  <a:pt x="9166870" y="2389331"/>
                  <a:pt x="9175183" y="4615957"/>
                  <a:pt x="9175184" y="6875835"/>
                </a:cubicBezTo>
                <a:lnTo>
                  <a:pt x="0" y="6880580"/>
                </a:lnTo>
                <a:cubicBezTo>
                  <a:pt x="1291" y="4590664"/>
                  <a:pt x="10896" y="2292436"/>
                  <a:pt x="12187" y="2520"/>
                </a:cubicBezTo>
                <a:close/>
              </a:path>
            </a:pathLst>
          </a:custGeom>
        </p:spPr>
        <p:txBody>
          <a:bodyPr anchor="ctr"/>
          <a:lstStyle>
            <a:lvl1pPr algn="ctr">
              <a:defRPr/>
            </a:lvl1pPr>
          </a:lstStyle>
          <a:p>
            <a:r>
              <a:rPr lang="en-GB" noProof="0" smtClean="0"/>
              <a:t>Bildplatzhalter</a:t>
            </a:r>
            <a:endParaRPr lang="en-GB" noProof="0"/>
          </a:p>
        </p:txBody>
      </p:sp>
      <p:sp>
        <p:nvSpPr>
          <p:cNvPr id="7" name="Textplatzhalt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50825" y="3573016"/>
            <a:ext cx="6481763" cy="2735708"/>
          </a:xfrm>
          <a:solidFill>
            <a:schemeClr val="bg1">
              <a:alpha val="85000"/>
            </a:schemeClr>
          </a:solidFill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vert="horz" lIns="216000" tIns="252000" rIns="216000" bIns="216000" rtlCol="0" anchor="b" anchorCtr="0">
            <a:noAutofit/>
          </a:bodyPr>
          <a:lstStyle>
            <a:lvl1pPr>
              <a:defRPr lang="de-DE" sz="14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 smtClean="0"/>
              <a:t>Beschreibender Text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50825" y="3573016"/>
            <a:ext cx="6481763" cy="1152128"/>
          </a:xfrm>
          <a:noFill/>
          <a:ln>
            <a:noFill/>
          </a:ln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lIns="216000" tIns="252000" rIns="216000" bIns="144000" anchor="b" anchorCtr="0"/>
          <a:lstStyle>
            <a:lvl1pPr>
              <a:defRPr sz="2400" b="0" cap="all" baseline="0"/>
            </a:lvl1pPr>
          </a:lstStyle>
          <a:p>
            <a:r>
              <a:rPr lang="de-DE" dirty="0" smtClean="0"/>
              <a:t>Kapitelname</a:t>
            </a:r>
            <a:endParaRPr lang="de-DE" dirty="0"/>
          </a:p>
        </p:txBody>
      </p:sp>
      <p:sp>
        <p:nvSpPr>
          <p:cNvPr id="15" name="Inhaltsplatzhalter 3"/>
          <p:cNvSpPr>
            <a:spLocks noGrp="1"/>
          </p:cNvSpPr>
          <p:nvPr>
            <p:ph sz="quarter" idx="14"/>
          </p:nvPr>
        </p:nvSpPr>
        <p:spPr bwMode="gray">
          <a:xfrm>
            <a:off x="468313" y="4714344"/>
            <a:ext cx="6048376" cy="10800"/>
          </a:xfrm>
          <a:solidFill>
            <a:schemeClr val="tx2"/>
          </a:solid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1"/>
          </p:nvPr>
        </p:nvSpPr>
        <p:spPr bwMode="gray">
          <a:xfrm>
            <a:off x="7092950" y="6714000"/>
            <a:ext cx="1800000" cy="144000"/>
          </a:xfrm>
          <a:solidFill>
            <a:schemeClr val="tx2"/>
          </a:solid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5"/>
          </p:nvPr>
        </p:nvSpPr>
        <p:spPr>
          <a:xfrm>
            <a:off x="6948488" y="115888"/>
            <a:ext cx="2087562" cy="936625"/>
          </a:xfrm>
          <a:ln>
            <a:solidFill>
              <a:schemeClr val="tx2"/>
            </a:solidFill>
          </a:ln>
        </p:spPr>
        <p:txBody>
          <a:bodyPr lIns="36000" tIns="360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5953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II&#10;Section Heading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50825" y="3573016"/>
            <a:ext cx="6481763" cy="2735708"/>
          </a:xfrm>
          <a:solidFill>
            <a:schemeClr val="bg1">
              <a:alpha val="85000"/>
            </a:schemeClr>
          </a:solidFill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vert="horz" lIns="216000" tIns="252000" rIns="216000" bIns="216000" rtlCol="0" anchor="b" anchorCtr="0">
            <a:noAutofit/>
          </a:bodyPr>
          <a:lstStyle>
            <a:lvl1pPr>
              <a:defRPr lang="de-DE" sz="14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 smtClean="0"/>
              <a:t>Beschreibender Text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50825" y="3573016"/>
            <a:ext cx="6481763" cy="1152128"/>
          </a:xfrm>
          <a:noFill/>
          <a:ln>
            <a:noFill/>
          </a:ln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lIns="216000" tIns="252000" rIns="216000" bIns="144000" anchor="b" anchorCtr="0"/>
          <a:lstStyle>
            <a:lvl1pPr>
              <a:defRPr sz="2400" b="0" cap="all" baseline="0"/>
            </a:lvl1pPr>
          </a:lstStyle>
          <a:p>
            <a:r>
              <a:rPr lang="de-DE" dirty="0" smtClean="0"/>
              <a:t>Kapitelname</a:t>
            </a:r>
            <a:endParaRPr lang="de-DE" dirty="0"/>
          </a:p>
        </p:txBody>
      </p:sp>
      <p:sp>
        <p:nvSpPr>
          <p:cNvPr id="15" name="Inhaltsplatzhalter 3"/>
          <p:cNvSpPr>
            <a:spLocks noGrp="1"/>
          </p:cNvSpPr>
          <p:nvPr>
            <p:ph sz="quarter" idx="14"/>
          </p:nvPr>
        </p:nvSpPr>
        <p:spPr bwMode="gray">
          <a:xfrm>
            <a:off x="468313" y="4714344"/>
            <a:ext cx="6048376" cy="10800"/>
          </a:xfrm>
          <a:solidFill>
            <a:schemeClr val="tx2"/>
          </a:solid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1"/>
          </p:nvPr>
        </p:nvSpPr>
        <p:spPr bwMode="gray">
          <a:xfrm>
            <a:off x="7092950" y="6714000"/>
            <a:ext cx="1800000" cy="144000"/>
          </a:xfrm>
          <a:solidFill>
            <a:schemeClr val="tx2"/>
          </a:solid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0514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&amp; Inhalt&#10;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2.01.2018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10" name="Gerade Verbindung 9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 userDrawn="1"/>
        </p:nvCxnSpPr>
        <p:spPr>
          <a:xfrm flipH="1">
            <a:off x="25047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flipH="1">
            <a:off x="673119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flipH="1">
            <a:off x="88924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25152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673224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88935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70922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H="1">
            <a:off x="70933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rot="16200000" flipH="1">
            <a:off x="-73041" y="123223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rot="16200000" flipH="1">
            <a:off x="-73041" y="627279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rot="16200000" flipH="1">
            <a:off x="9215998" y="123328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16200000" flipH="1">
            <a:off x="9215998" y="627384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5436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&amp; Marg.&#10;Content &amp; Marg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 hasCustomPrompt="1"/>
          </p:nvPr>
        </p:nvSpPr>
        <p:spPr bwMode="gray">
          <a:xfrm>
            <a:off x="7092950" y="1268413"/>
            <a:ext cx="1800225" cy="50403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smtClean="0"/>
              <a:t>Optionale Marginali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2.01.2018</a:t>
            </a:fld>
            <a:endParaRPr lang="de-DE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11" name="Gerade Verbindung 10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flipH="1">
            <a:off x="25047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673119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88924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25152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673224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H="1">
            <a:off x="88935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H="1">
            <a:off x="70922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flipH="1">
            <a:off x="70933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rot="16200000" flipH="1">
            <a:off x="-73041" y="123223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16200000" flipH="1">
            <a:off x="-73041" y="627279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rot="16200000" flipH="1">
            <a:off x="9215998" y="123328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 rot="16200000" flipH="1">
            <a:off x="9215998" y="627384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2142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Marginalie&#10;Marginalia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 hasCustomPrompt="1"/>
          </p:nvPr>
        </p:nvSpPr>
        <p:spPr bwMode="gray">
          <a:xfrm>
            <a:off x="7092950" y="1268413"/>
            <a:ext cx="1800225" cy="50403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smtClean="0"/>
              <a:t>Optionale Marginali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2.01.2018</a:t>
            </a:fld>
            <a:endParaRPr lang="de-DE" noProof="0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10" name="Gerade Verbindung 9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flipH="1">
            <a:off x="25047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flipH="1">
            <a:off x="673119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88924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25152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673224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88935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H="1">
            <a:off x="70922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H="1">
            <a:off x="70933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rot="16200000" flipH="1">
            <a:off x="-73041" y="123223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rot="16200000" flipH="1">
            <a:off x="-73041" y="627279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16200000" flipH="1">
            <a:off x="9215998" y="123328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rot="16200000" flipH="1">
            <a:off x="9215998" y="627384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7466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&#10;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 bwMode="gray">
          <a:xfrm>
            <a:off x="250825" y="1268413"/>
            <a:ext cx="3169048" cy="504031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 bwMode="gray">
          <a:xfrm>
            <a:off x="3563541" y="1268413"/>
            <a:ext cx="3169047" cy="504031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2.01.2018</a:t>
            </a:fld>
            <a:endParaRPr lang="de-DE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11" name="Gerade Verbindung 10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flipH="1">
            <a:off x="25047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673119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88924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25152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673224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H="1">
            <a:off x="88935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H="1">
            <a:off x="70922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flipH="1">
            <a:off x="70933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rot="16200000" flipH="1">
            <a:off x="-73041" y="123223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16200000" flipH="1">
            <a:off x="-73041" y="627279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rot="16200000" flipH="1">
            <a:off x="9215998" y="123328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 rot="16200000" flipH="1">
            <a:off x="9215998" y="627384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0728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&#10;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2.01.2018</a:t>
            </a:fld>
            <a:endParaRPr lang="de-DE" noProof="0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9" name="Gerade Verbindung 8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 userDrawn="1"/>
        </p:nvCxnSpPr>
        <p:spPr bwMode="gray">
          <a:xfrm>
            <a:off x="0" y="908720"/>
            <a:ext cx="673258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 flipH="1">
            <a:off x="25047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flipH="1">
            <a:off x="6731197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flipH="1">
            <a:off x="88924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25152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6732240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88935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7092280" y="-127959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H="1">
            <a:off x="7093323" y="6957400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rot="16200000" flipH="1">
            <a:off x="-73041" y="123223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rot="16200000" flipH="1">
            <a:off x="-73041" y="6272798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rot="16200000" flipH="1">
            <a:off x="9215998" y="123328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16200000" flipH="1">
            <a:off x="9215998" y="6273842"/>
            <a:ext cx="1043" cy="720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569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250477" y="188640"/>
            <a:ext cx="6481763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noProof="0" dirty="0" smtClean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250477" y="1268413"/>
            <a:ext cx="6481763" cy="50403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noProof="0" dirty="0" smtClean="0"/>
              <a:t>Textmaster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  <a:endParaRPr lang="de-DE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539750" y="6597651"/>
            <a:ext cx="719882" cy="1606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5A607C75-7E5E-49DD-BFE0-283F617009BA}" type="datetime1">
              <a:rPr lang="de-DE" noProof="0" smtClean="0"/>
              <a:t>02.01.2018</a:t>
            </a:fld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1259632" y="6597651"/>
            <a:ext cx="5472956" cy="1606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250825" y="6597650"/>
            <a:ext cx="288925" cy="1606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069" name="Rechteck 1068"/>
          <p:cNvSpPr/>
          <p:nvPr/>
        </p:nvSpPr>
        <p:spPr bwMode="gray">
          <a:xfrm>
            <a:off x="7092950" y="6714000"/>
            <a:ext cx="1799530" cy="144000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ysClr val="windowText" lastClr="000000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950" y="230041"/>
            <a:ext cx="1800000" cy="678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43697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31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726" r:id="rId12"/>
    <p:sldLayoutId id="2147483727" r:id="rId13"/>
    <p:sldLayoutId id="2147483728" r:id="rId14"/>
    <p:sldLayoutId id="2147483729" r:id="rId15"/>
    <p:sldLayoutId id="2147483730" r:id="rId16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1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1.jpeg"/><Relationship Id="rId5" Type="http://schemas.openxmlformats.org/officeDocument/2006/relationships/image" Target="../media/image30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minder App</a:t>
            </a:r>
            <a:endParaRPr lang="de-DE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Untertitel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Ein zentralisiertes Benachrichtigungssystem für das Intranet der Berenberg </a:t>
            </a:r>
            <a:r>
              <a:rPr lang="de-DE" dirty="0" smtClean="0"/>
              <a:t>Bank</a:t>
            </a:r>
          </a:p>
          <a:p>
            <a:endParaRPr lang="de-DE" dirty="0"/>
          </a:p>
          <a:p>
            <a:r>
              <a:rPr lang="de-DE" dirty="0" smtClean="0"/>
              <a:t>Entwickelt und Präsentiert von Niklas Grieger</a:t>
            </a:r>
          </a:p>
          <a:p>
            <a:endParaRPr lang="de-DE" dirty="0"/>
          </a:p>
          <a:p>
            <a:r>
              <a:rPr lang="de-DE" dirty="0" smtClean="0"/>
              <a:t>Ausbildungsbetrieb: Berenberg</a:t>
            </a:r>
            <a:endParaRPr lang="de-DE" dirty="0"/>
          </a:p>
        </p:txBody>
      </p:sp>
      <p:pic>
        <p:nvPicPr>
          <p:cNvPr id="1028" name="Picture 4" descr="Bildergebnis für reminder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9039" y="548680"/>
            <a:ext cx="3888432" cy="3198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8564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tenzugriff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11266" name="Picture 2" descr="Bildergebnis für api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7667" y="4077072"/>
            <a:ext cx="3126333" cy="1944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Grafik 5" descr="U:\Abschlussprojekt v2\Dokumentation\Diagramme\Datenflussmodelldiagramm.png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712" y="925746"/>
            <a:ext cx="3528392" cy="588763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10469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Zusammenfassen der Daten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9" name="Picture 16" descr="U:\Abschlussprojekt v2\Präsentation\img\Trichter_VerschiedeneDatenquellen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160" y="4221088"/>
            <a:ext cx="3683256" cy="2167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/>
          <p:cNvSpPr txBox="1"/>
          <p:nvPr/>
        </p:nvSpPr>
        <p:spPr>
          <a:xfrm>
            <a:off x="179512" y="1268760"/>
            <a:ext cx="6624736" cy="53285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de-DE" b="1" dirty="0">
                <a:solidFill>
                  <a:schemeClr val="tx2"/>
                </a:solidFill>
              </a:rPr>
              <a:t>Was passiert im Backend / Webservice ?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de-DE" dirty="0" smtClean="0"/>
          </a:p>
          <a:p>
            <a:pPr marL="742950" lvl="1" indent="-285750">
              <a:buFont typeface="Arial" pitchFamily="34" charset="0"/>
              <a:buChar char="•"/>
            </a:pPr>
            <a:r>
              <a:rPr lang="de-DE" dirty="0" smtClean="0"/>
              <a:t>Abrufen verschiedener APIs (Beispiel Exchange)</a:t>
            </a:r>
          </a:p>
          <a:p>
            <a:pPr lvl="1"/>
            <a:endParaRPr lang="de-DE" dirty="0" smtClean="0"/>
          </a:p>
          <a:p>
            <a:pPr lvl="1"/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//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Bibliothek</a:t>
            </a:r>
            <a:endParaRPr lang="de-DE" sz="1000" dirty="0" smtClean="0"/>
          </a:p>
          <a:p>
            <a:pPr lvl="1"/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using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Microsoft.Exchange.WebServices.Data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;</a:t>
            </a:r>
          </a:p>
          <a:p>
            <a:pPr lvl="1"/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…</a:t>
            </a:r>
            <a:r>
              <a:rPr lang="en-US" sz="1000" dirty="0" smtClean="0">
                <a:solidFill>
                  <a:srgbClr val="000000"/>
                </a:solidFill>
                <a:latin typeface="Consolas"/>
              </a:rPr>
              <a:t>      </a:t>
            </a:r>
          </a:p>
          <a:p>
            <a:pPr lvl="1"/>
            <a:r>
              <a:rPr lang="en-US" sz="1000" dirty="0" smtClean="0">
                <a:solidFill>
                  <a:srgbClr val="008000"/>
                </a:solidFill>
                <a:latin typeface="Consolas"/>
              </a:rPr>
              <a:t>//Dies </a:t>
            </a:r>
            <a:r>
              <a:rPr lang="en-US" sz="1000" dirty="0" err="1" smtClean="0">
                <a:solidFill>
                  <a:srgbClr val="008000"/>
                </a:solidFill>
                <a:latin typeface="Consolas"/>
              </a:rPr>
              <a:t>ist</a:t>
            </a:r>
            <a:r>
              <a:rPr lang="en-US" sz="1000" dirty="0" smtClean="0">
                <a:solidFill>
                  <a:srgbClr val="008000"/>
                </a:solidFill>
                <a:latin typeface="Consolas"/>
              </a:rPr>
              <a:t> die </a:t>
            </a:r>
            <a:r>
              <a:rPr lang="en-US" sz="1000" dirty="0" err="1" smtClean="0">
                <a:solidFill>
                  <a:srgbClr val="008000"/>
                </a:solidFill>
                <a:latin typeface="Consolas"/>
              </a:rPr>
              <a:t>Schnittstelle</a:t>
            </a:r>
            <a:r>
              <a:rPr lang="en-US" sz="1000" dirty="0" smtClean="0">
                <a:solidFill>
                  <a:srgbClr val="008000"/>
                </a:solidFill>
                <a:latin typeface="Consolas"/>
              </a:rPr>
              <a:t> </a:t>
            </a:r>
            <a:r>
              <a:rPr lang="en-US" sz="1000" dirty="0" err="1" smtClean="0">
                <a:solidFill>
                  <a:srgbClr val="008000"/>
                </a:solidFill>
                <a:latin typeface="Consolas"/>
              </a:rPr>
              <a:t>zum</a:t>
            </a:r>
            <a:r>
              <a:rPr lang="en-US" sz="1000" dirty="0" smtClean="0">
                <a:solidFill>
                  <a:srgbClr val="008000"/>
                </a:solidFill>
                <a:latin typeface="Consolas"/>
              </a:rPr>
              <a:t> Email Account des </a:t>
            </a:r>
            <a:r>
              <a:rPr lang="en-US" sz="1000" dirty="0" err="1" smtClean="0">
                <a:solidFill>
                  <a:srgbClr val="008000"/>
                </a:solidFill>
                <a:latin typeface="Consolas"/>
              </a:rPr>
              <a:t>Anwenders</a:t>
            </a:r>
            <a:r>
              <a:rPr lang="en-US" sz="1000" dirty="0" smtClean="0">
                <a:solidFill>
                  <a:srgbClr val="008000"/>
                </a:solidFill>
                <a:latin typeface="Consolas"/>
              </a:rPr>
              <a:t>. </a:t>
            </a:r>
            <a:r>
              <a:rPr lang="en-US" sz="1000" dirty="0" err="1" smtClean="0">
                <a:solidFill>
                  <a:srgbClr val="008000"/>
                </a:solidFill>
                <a:latin typeface="Consolas"/>
              </a:rPr>
              <a:t>Dieser</a:t>
            </a:r>
            <a:r>
              <a:rPr lang="en-US" sz="1000" dirty="0" smtClean="0">
                <a:solidFill>
                  <a:srgbClr val="008000"/>
                </a:solidFill>
                <a:latin typeface="Consolas"/>
              </a:rPr>
              <a:t> </a:t>
            </a:r>
            <a:r>
              <a:rPr lang="en-US" sz="1000" dirty="0" err="1" smtClean="0">
                <a:solidFill>
                  <a:srgbClr val="008000"/>
                </a:solidFill>
                <a:latin typeface="Consolas"/>
              </a:rPr>
              <a:t>wird</a:t>
            </a:r>
            <a:r>
              <a:rPr lang="en-US" sz="1000" dirty="0" smtClean="0">
                <a:solidFill>
                  <a:srgbClr val="008000"/>
                </a:solidFill>
                <a:latin typeface="Consolas"/>
              </a:rPr>
              <a:t> </a:t>
            </a:r>
            <a:r>
              <a:rPr lang="en-US" sz="1000" dirty="0" err="1" smtClean="0">
                <a:solidFill>
                  <a:srgbClr val="008000"/>
                </a:solidFill>
                <a:latin typeface="Consolas"/>
              </a:rPr>
              <a:t>anhand</a:t>
            </a:r>
            <a:r>
              <a:rPr lang="en-US" sz="1000" dirty="0" smtClean="0">
                <a:solidFill>
                  <a:srgbClr val="008000"/>
                </a:solidFill>
                <a:latin typeface="Consolas"/>
              </a:rPr>
              <a:t> des NT-Users </a:t>
            </a:r>
            <a:r>
              <a:rPr lang="en-US" sz="1000" dirty="0" err="1" smtClean="0">
                <a:solidFill>
                  <a:srgbClr val="008000"/>
                </a:solidFill>
                <a:latin typeface="Consolas"/>
              </a:rPr>
              <a:t>authentifiziert</a:t>
            </a:r>
            <a:endParaRPr lang="en-US" sz="1000" dirty="0" smtClean="0">
              <a:solidFill>
                <a:srgbClr val="008000"/>
              </a:solidFill>
              <a:latin typeface="Consolas"/>
            </a:endParaRPr>
          </a:p>
          <a:p>
            <a:pPr lvl="1"/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ExchangeService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servic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new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ExchangeServic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ExchangeVersion.Exchange2010)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{</a:t>
            </a:r>
          </a:p>
          <a:p>
            <a:r>
              <a:rPr lang="en-US" sz="1000" dirty="0">
                <a:solidFill>
                  <a:srgbClr val="000000"/>
                </a:solidFill>
                <a:latin typeface="Consolas"/>
              </a:rPr>
              <a:t>        </a:t>
            </a:r>
            <a:r>
              <a:rPr lang="en-US" sz="1000" dirty="0" err="1">
                <a:solidFill>
                  <a:srgbClr val="000000"/>
                </a:solidFill>
                <a:latin typeface="Consolas"/>
              </a:rPr>
              <a:t>Url</a:t>
            </a:r>
            <a:r>
              <a:rPr lang="en-US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en-US" sz="1000" dirty="0">
                <a:solidFill>
                  <a:srgbClr val="0000FF"/>
                </a:solidFill>
                <a:latin typeface="Consolas"/>
              </a:rPr>
              <a:t>new</a:t>
            </a:r>
            <a:r>
              <a:rPr lang="en-US" sz="1000" dirty="0">
                <a:solidFill>
                  <a:srgbClr val="000000"/>
                </a:solidFill>
                <a:latin typeface="Consolas"/>
              </a:rPr>
              <a:t> Uri(</a:t>
            </a:r>
            <a:r>
              <a:rPr lang="en-US" sz="1000" dirty="0">
                <a:solidFill>
                  <a:srgbClr val="A31515"/>
                </a:solidFill>
                <a:latin typeface="Consolas"/>
              </a:rPr>
              <a:t>"https://bego-mail.dnsbego.de/</a:t>
            </a:r>
            <a:r>
              <a:rPr lang="en-US" sz="1000" dirty="0" err="1">
                <a:solidFill>
                  <a:srgbClr val="A31515"/>
                </a:solidFill>
                <a:latin typeface="Consolas"/>
              </a:rPr>
              <a:t>ews</a:t>
            </a:r>
            <a:r>
              <a:rPr lang="en-US" sz="1000" dirty="0">
                <a:solidFill>
                  <a:srgbClr val="A31515"/>
                </a:solidFill>
                <a:latin typeface="Consolas"/>
              </a:rPr>
              <a:t>/exchange.asmx"</a:t>
            </a:r>
            <a:r>
              <a:rPr lang="en-US" sz="1000" dirty="0">
                <a:solidFill>
                  <a:srgbClr val="000000"/>
                </a:solidFill>
                <a:latin typeface="Consolas"/>
              </a:rPr>
              <a:t>),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UseDefaultCredentials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true</a:t>
            </a:r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};</a:t>
            </a:r>
            <a:endParaRPr lang="en-US" sz="1000" dirty="0" smtClean="0">
              <a:solidFill>
                <a:srgbClr val="000000"/>
              </a:solidFill>
              <a:latin typeface="Consolas"/>
            </a:endParaRPr>
          </a:p>
          <a:p>
            <a:pPr lvl="1"/>
            <a:endParaRPr lang="en-US" sz="1000" dirty="0" smtClean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de-DE" sz="1000" dirty="0">
                <a:solidFill>
                  <a:srgbClr val="008000"/>
                </a:solidFill>
                <a:latin typeface="Consolas"/>
              </a:rPr>
              <a:t>//Neue Instanz </a:t>
            </a:r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einer View zur 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Ansicht der </a:t>
            </a:r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nächsten 5 Termine 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innerhalb eines </a:t>
            </a:r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Zeitraums</a:t>
            </a:r>
          </a:p>
          <a:p>
            <a:pPr lvl="1"/>
            <a:r>
              <a:rPr lang="en-US" sz="1000" dirty="0" err="1" smtClean="0">
                <a:solidFill>
                  <a:srgbClr val="000000"/>
                </a:solidFill>
                <a:latin typeface="Consolas"/>
              </a:rPr>
              <a:t>CalendarView</a:t>
            </a:r>
            <a:r>
              <a:rPr lang="en-US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  <a:latin typeface="Consolas"/>
              </a:rPr>
              <a:t>cView</a:t>
            </a:r>
            <a:r>
              <a:rPr lang="en-US" sz="1000" dirty="0" smtClean="0">
                <a:solidFill>
                  <a:srgbClr val="000000"/>
                </a:solidFill>
                <a:latin typeface="Consolas"/>
              </a:rPr>
              <a:t> = </a:t>
            </a:r>
            <a:r>
              <a:rPr lang="en-US" sz="1000" dirty="0" smtClean="0">
                <a:solidFill>
                  <a:srgbClr val="0000FF"/>
                </a:solidFill>
                <a:latin typeface="Consolas"/>
              </a:rPr>
              <a:t>new</a:t>
            </a:r>
            <a:r>
              <a:rPr lang="en-US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  <a:latin typeface="Consolas"/>
              </a:rPr>
              <a:t>CalendarView</a:t>
            </a:r>
            <a:r>
              <a:rPr lang="en-US" sz="10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en-US" sz="1000" dirty="0" err="1" smtClean="0">
                <a:solidFill>
                  <a:srgbClr val="000000"/>
                </a:solidFill>
                <a:latin typeface="Consolas"/>
              </a:rPr>
              <a:t>startDate</a:t>
            </a:r>
            <a:r>
              <a:rPr lang="en-US" sz="1000" dirty="0" smtClean="0">
                <a:solidFill>
                  <a:srgbClr val="000000"/>
                </a:solidFill>
                <a:latin typeface="Consolas"/>
              </a:rPr>
              <a:t>, </a:t>
            </a:r>
            <a:r>
              <a:rPr lang="en-US" sz="1000" dirty="0" err="1" smtClean="0">
                <a:solidFill>
                  <a:srgbClr val="000000"/>
                </a:solidFill>
                <a:latin typeface="Consolas"/>
              </a:rPr>
              <a:t>endDate</a:t>
            </a:r>
            <a:r>
              <a:rPr lang="en-US" sz="1000" dirty="0" smtClean="0">
                <a:solidFill>
                  <a:srgbClr val="000000"/>
                </a:solidFill>
                <a:latin typeface="Consolas"/>
              </a:rPr>
              <a:t>, 5);</a:t>
            </a:r>
          </a:p>
          <a:p>
            <a:pPr lvl="1"/>
            <a:endParaRPr lang="en-US" sz="1000" dirty="0" smtClean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en-US" sz="1000" dirty="0">
                <a:solidFill>
                  <a:srgbClr val="008000"/>
                </a:solidFill>
                <a:latin typeface="Consolas"/>
              </a:rPr>
              <a:t>//</a:t>
            </a:r>
            <a:r>
              <a:rPr lang="en-US" sz="1000" dirty="0" err="1">
                <a:solidFill>
                  <a:srgbClr val="008000"/>
                </a:solidFill>
                <a:latin typeface="Consolas"/>
              </a:rPr>
              <a:t>Zugriff</a:t>
            </a:r>
            <a:r>
              <a:rPr lang="en-US" sz="1000" dirty="0">
                <a:solidFill>
                  <a:srgbClr val="008000"/>
                </a:solidFill>
                <a:latin typeface="Consolas"/>
              </a:rPr>
              <a:t> auf die Attribute des Outlook-</a:t>
            </a:r>
            <a:r>
              <a:rPr lang="en-US" sz="1000" dirty="0" err="1">
                <a:solidFill>
                  <a:srgbClr val="008000"/>
                </a:solidFill>
                <a:latin typeface="Consolas"/>
              </a:rPr>
              <a:t>Termins</a:t>
            </a:r>
            <a:r>
              <a:rPr lang="en-US" sz="1000" dirty="0">
                <a:solidFill>
                  <a:srgbClr val="008000"/>
                </a:solidFill>
                <a:latin typeface="Consolas"/>
              </a:rPr>
              <a:t> </a:t>
            </a:r>
          </a:p>
          <a:p>
            <a:pPr lvl="1"/>
            <a:r>
              <a:rPr lang="de-DE" sz="1000" dirty="0" err="1"/>
              <a:t>cView.PropertySet</a:t>
            </a:r>
            <a:r>
              <a:rPr lang="de-DE" sz="1000" dirty="0"/>
              <a:t> = </a:t>
            </a:r>
            <a:r>
              <a:rPr lang="de-DE" sz="1000" dirty="0" err="1"/>
              <a:t>new</a:t>
            </a:r>
            <a:r>
              <a:rPr lang="de-DE" sz="1000" dirty="0"/>
              <a:t> </a:t>
            </a:r>
            <a:r>
              <a:rPr lang="de-DE" sz="1000" dirty="0" err="1" smtClean="0"/>
              <a:t>PropertySet</a:t>
            </a:r>
            <a:r>
              <a:rPr lang="de-DE" sz="1000" dirty="0" smtClean="0"/>
              <a:t>(</a:t>
            </a:r>
            <a:r>
              <a:rPr lang="de-DE" sz="1000" dirty="0" err="1" smtClean="0"/>
              <a:t>AppointmentSchema.Subject</a:t>
            </a:r>
            <a:r>
              <a:rPr lang="de-DE" sz="1000" dirty="0" smtClean="0"/>
              <a:t>, </a:t>
            </a:r>
            <a:r>
              <a:rPr lang="de-DE" sz="1000" dirty="0" err="1" smtClean="0"/>
              <a:t>AppointmentSchema.Start</a:t>
            </a:r>
            <a:r>
              <a:rPr lang="de-DE" sz="1000" dirty="0" smtClean="0"/>
              <a:t>, …);</a:t>
            </a:r>
          </a:p>
          <a:p>
            <a:pPr lvl="1"/>
            <a:endParaRPr lang="en-US" sz="1000" dirty="0" smtClean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de-DE" sz="1000" dirty="0">
                <a:solidFill>
                  <a:srgbClr val="008000"/>
                </a:solidFill>
                <a:latin typeface="Consolas"/>
              </a:rPr>
              <a:t>//Repräsentiert das Ergebnis der View, welche die Termine </a:t>
            </a:r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beinhaltet</a:t>
            </a:r>
          </a:p>
          <a:p>
            <a:pPr lvl="1"/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FindItemsResults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&lt;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Appointment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&gt; 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appointments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=</a:t>
            </a:r>
          </a:p>
          <a:p>
            <a:pPr lvl="1"/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calendar.FindAppointments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cView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);</a:t>
            </a:r>
          </a:p>
          <a:p>
            <a:pPr lvl="1"/>
            <a:endParaRPr lang="de-DE" sz="1000" dirty="0" smtClean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de-DE" sz="1000" dirty="0" err="1">
                <a:solidFill>
                  <a:srgbClr val="0000FF"/>
                </a:solidFill>
                <a:latin typeface="Consolas"/>
              </a:rPr>
              <a:t>var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list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new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List&lt;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ReminderModel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&gt;();</a:t>
            </a:r>
            <a:endParaRPr lang="de-DE" sz="1000" dirty="0" smtClean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de-DE" sz="1000" dirty="0">
                <a:solidFill>
                  <a:srgbClr val="008000"/>
                </a:solidFill>
                <a:latin typeface="Consolas"/>
              </a:rPr>
              <a:t>//Iterieren durch die View, zum </a:t>
            </a:r>
            <a:r>
              <a:rPr lang="de-DE" sz="1000" dirty="0" err="1">
                <a:solidFill>
                  <a:srgbClr val="008000"/>
                </a:solidFill>
                <a:latin typeface="Consolas"/>
              </a:rPr>
              <a:t>matchen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 der Ergebnisse in das Schema der Reminder App</a:t>
            </a:r>
            <a:endParaRPr lang="de-DE" sz="1000" dirty="0" smtClean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en-US" sz="1000" dirty="0" err="1">
                <a:solidFill>
                  <a:srgbClr val="0000FF"/>
                </a:solidFill>
                <a:latin typeface="Consolas"/>
              </a:rPr>
              <a:t>foreach</a:t>
            </a:r>
            <a:r>
              <a:rPr lang="en-US" sz="1000" dirty="0">
                <a:solidFill>
                  <a:srgbClr val="000000"/>
                </a:solidFill>
                <a:latin typeface="Consolas"/>
              </a:rPr>
              <a:t> (Appointment a </a:t>
            </a:r>
            <a:r>
              <a:rPr lang="en-US" sz="1000" dirty="0">
                <a:solidFill>
                  <a:srgbClr val="0000FF"/>
                </a:solidFill>
                <a:latin typeface="Consolas"/>
              </a:rPr>
              <a:t>in</a:t>
            </a:r>
            <a:r>
              <a:rPr lang="en-US" sz="1000" dirty="0">
                <a:solidFill>
                  <a:srgbClr val="000000"/>
                </a:solidFill>
                <a:latin typeface="Consolas"/>
              </a:rPr>
              <a:t> appointments) </a:t>
            </a:r>
            <a:r>
              <a:rPr lang="en-US" sz="1000" dirty="0" smtClean="0">
                <a:solidFill>
                  <a:srgbClr val="000000"/>
                </a:solidFill>
                <a:latin typeface="Consolas"/>
              </a:rPr>
              <a:t>{</a:t>
            </a:r>
          </a:p>
          <a:p>
            <a:pPr lvl="1"/>
            <a:r>
              <a:rPr lang="de-DE" sz="1000" dirty="0" err="1">
                <a:solidFill>
                  <a:srgbClr val="0000FF"/>
                </a:solidFill>
                <a:latin typeface="Consolas"/>
              </a:rPr>
              <a:t>var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model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new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ReminderModel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);</a:t>
            </a:r>
            <a:endParaRPr lang="en-US" sz="1000" dirty="0" smtClean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de-DE" sz="1000" dirty="0" err="1">
                <a:solidFill>
                  <a:srgbClr val="000000"/>
                </a:solidFill>
                <a:latin typeface="Consolas"/>
              </a:rPr>
              <a:t>model.Text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a.Subject.ToString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) + 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" </a:t>
            </a:r>
            <a:r>
              <a:rPr lang="de-DE" sz="1000" dirty="0" smtClean="0">
                <a:solidFill>
                  <a:srgbClr val="A31515"/>
                </a:solidFill>
                <a:latin typeface="Consolas"/>
              </a:rPr>
              <a:t>"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;</a:t>
            </a:r>
          </a:p>
          <a:p>
            <a:pPr lvl="1"/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…</a:t>
            </a:r>
          </a:p>
          <a:p>
            <a:pPr lvl="1"/>
            <a:r>
              <a:rPr lang="de-DE" sz="1000" dirty="0" err="1">
                <a:solidFill>
                  <a:srgbClr val="000000"/>
                </a:solidFill>
                <a:latin typeface="Consolas"/>
              </a:rPr>
              <a:t>list.Add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model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);</a:t>
            </a:r>
          </a:p>
          <a:p>
            <a:pPr lvl="1"/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}</a:t>
            </a:r>
            <a:endParaRPr lang="en-US" sz="1000" dirty="0" smtClean="0">
              <a:solidFill>
                <a:srgbClr val="000000"/>
              </a:solidFill>
              <a:latin typeface="Consolas"/>
            </a:endParaRPr>
          </a:p>
        </p:txBody>
      </p:sp>
    </p:spTree>
    <p:extLst>
      <p:ext uri="{BB962C8B-B14F-4D97-AF65-F5344CB8AC3E}">
        <p14:creationId xmlns:p14="http://schemas.microsoft.com/office/powerpoint/2010/main" val="3911308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1000"/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1000"/>
                                        <p:tgtEl>
                                          <p:spTgt spid="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1000"/>
                                        <p:tgtEl>
                                          <p:spTgt spid="8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8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8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1000"/>
                                        <p:tgtEl>
                                          <p:spTgt spid="8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7" dur="1000" fill="hold"/>
                                        <p:tgtEl>
                                          <p:spTgt spid="8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1000" fill="hold"/>
                                        <p:tgtEl>
                                          <p:spTgt spid="8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1000"/>
                                        <p:tgtEl>
                                          <p:spTgt spid="8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4" dur="1000" fill="hold"/>
                                        <p:tgtEl>
                                          <p:spTgt spid="8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5" dur="1000" fill="hold"/>
                                        <p:tgtEl>
                                          <p:spTgt spid="8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1" end="2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1000"/>
                                        <p:tgtEl>
                                          <p:spTgt spid="8">
                                            <p:txEl>
                                              <p:pRg st="21" end="2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9" dur="1000" fill="hold"/>
                                        <p:tgtEl>
                                          <p:spTgt spid="8">
                                            <p:txEl>
                                              <p:pRg st="21" end="2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" dur="1000" fill="hold"/>
                                        <p:tgtEl>
                                          <p:spTgt spid="8">
                                            <p:txEl>
                                              <p:pRg st="21" end="2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1000"/>
                                        <p:tgtEl>
                                          <p:spTgt spid="8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4" dur="1000" fill="hold"/>
                                        <p:tgtEl>
                                          <p:spTgt spid="8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1000" fill="hold"/>
                                        <p:tgtEl>
                                          <p:spTgt spid="8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4" end="2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1000"/>
                                        <p:tgtEl>
                                          <p:spTgt spid="8">
                                            <p:txEl>
                                              <p:pRg st="24" end="2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9" dur="1000" fill="hold"/>
                                        <p:tgtEl>
                                          <p:spTgt spid="8">
                                            <p:txEl>
                                              <p:pRg st="24" end="2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1000" fill="hold"/>
                                        <p:tgtEl>
                                          <p:spTgt spid="8">
                                            <p:txEl>
                                              <p:pRg st="24" end="2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5" end="2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1000"/>
                                        <p:tgtEl>
                                          <p:spTgt spid="8">
                                            <p:txEl>
                                              <p:pRg st="25" end="2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4" dur="1000" fill="hold"/>
                                        <p:tgtEl>
                                          <p:spTgt spid="8">
                                            <p:txEl>
                                              <p:pRg st="25" end="2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5" dur="1000" fill="hold"/>
                                        <p:tgtEl>
                                          <p:spTgt spid="8">
                                            <p:txEl>
                                              <p:pRg st="25" end="2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6" end="2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1000"/>
                                        <p:tgtEl>
                                          <p:spTgt spid="8">
                                            <p:txEl>
                                              <p:pRg st="26" end="2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9" dur="1000" fill="hold"/>
                                        <p:tgtEl>
                                          <p:spTgt spid="8">
                                            <p:txEl>
                                              <p:pRg st="26" end="2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1000" fill="hold"/>
                                        <p:tgtEl>
                                          <p:spTgt spid="8">
                                            <p:txEl>
                                              <p:pRg st="26" end="2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7" end="2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1000"/>
                                        <p:tgtEl>
                                          <p:spTgt spid="8">
                                            <p:txEl>
                                              <p:pRg st="27" end="2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4" dur="1000" fill="hold"/>
                                        <p:tgtEl>
                                          <p:spTgt spid="8">
                                            <p:txEl>
                                              <p:pRg st="27" end="2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5" dur="1000" fill="hold"/>
                                        <p:tgtEl>
                                          <p:spTgt spid="8">
                                            <p:txEl>
                                              <p:pRg st="27" end="2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8" end="2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1000"/>
                                        <p:tgtEl>
                                          <p:spTgt spid="8">
                                            <p:txEl>
                                              <p:pRg st="28" end="2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9" dur="1000" fill="hold"/>
                                        <p:tgtEl>
                                          <p:spTgt spid="8">
                                            <p:txEl>
                                              <p:pRg st="28" end="2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0" dur="1000" fill="hold"/>
                                        <p:tgtEl>
                                          <p:spTgt spid="8">
                                            <p:txEl>
                                              <p:pRg st="28" end="2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9" end="2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1000"/>
                                        <p:tgtEl>
                                          <p:spTgt spid="8">
                                            <p:txEl>
                                              <p:pRg st="29" end="2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4" dur="1000" fill="hold"/>
                                        <p:tgtEl>
                                          <p:spTgt spid="8">
                                            <p:txEl>
                                              <p:pRg st="29" end="2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5" dur="1000" fill="hold"/>
                                        <p:tgtEl>
                                          <p:spTgt spid="8">
                                            <p:txEl>
                                              <p:pRg st="29" end="2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0" end="3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8" dur="1000"/>
                                        <p:tgtEl>
                                          <p:spTgt spid="8">
                                            <p:txEl>
                                              <p:pRg st="30" end="3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9" dur="1000" fill="hold"/>
                                        <p:tgtEl>
                                          <p:spTgt spid="8">
                                            <p:txEl>
                                              <p:pRg st="30" end="3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0" dur="1000" fill="hold"/>
                                        <p:tgtEl>
                                          <p:spTgt spid="8">
                                            <p:txEl>
                                              <p:pRg st="30" end="3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1" end="3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3" dur="1000"/>
                                        <p:tgtEl>
                                          <p:spTgt spid="8">
                                            <p:txEl>
                                              <p:pRg st="31" end="3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4" dur="1000" fill="hold"/>
                                        <p:tgtEl>
                                          <p:spTgt spid="8">
                                            <p:txEl>
                                              <p:pRg st="31" end="3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5" dur="1000" fill="hold"/>
                                        <p:tgtEl>
                                          <p:spTgt spid="8">
                                            <p:txEl>
                                              <p:pRg st="31" end="3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Zusammenfassen der Daten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9" name="Picture 16" descr="U:\Abschlussprojekt v2\Präsentation\img\Trichter_VerschiedeneDatenquellen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160" y="4221088"/>
            <a:ext cx="3683256" cy="2167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hteck 10"/>
          <p:cNvSpPr/>
          <p:nvPr/>
        </p:nvSpPr>
        <p:spPr>
          <a:xfrm>
            <a:off x="251520" y="1268760"/>
            <a:ext cx="6480720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1" indent="-285750">
              <a:buFont typeface="Arial" pitchFamily="34" charset="0"/>
              <a:buChar char="•"/>
            </a:pPr>
            <a:r>
              <a:rPr lang="de-DE" b="1" dirty="0">
                <a:solidFill>
                  <a:schemeClr val="tx2"/>
                </a:solidFill>
              </a:rPr>
              <a:t>Was passiert im Backend / Webservice ?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de-DE" dirty="0" smtClean="0"/>
          </a:p>
          <a:p>
            <a:pPr marL="742950" lvl="1" indent="-285750">
              <a:buFont typeface="Arial" pitchFamily="34" charset="0"/>
              <a:buChar char="•"/>
            </a:pPr>
            <a:r>
              <a:rPr lang="de-DE" dirty="0" smtClean="0"/>
              <a:t>Zusammenfassen </a:t>
            </a:r>
            <a:r>
              <a:rPr lang="de-DE" dirty="0"/>
              <a:t>der </a:t>
            </a:r>
            <a:r>
              <a:rPr lang="de-DE" dirty="0" smtClean="0"/>
              <a:t>Daten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de-DE" dirty="0"/>
          </a:p>
          <a:p>
            <a:pPr marL="742950" lvl="1" indent="-285750">
              <a:buFont typeface="Arial" pitchFamily="34" charset="0"/>
              <a:buChar char="•"/>
            </a:pPr>
            <a:endParaRPr lang="de-DE" dirty="0"/>
          </a:p>
          <a:p>
            <a:r>
              <a:rPr lang="de-DE" sz="1000" dirty="0" smtClean="0"/>
              <a:t>…</a:t>
            </a:r>
          </a:p>
          <a:p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var</a:t>
            </a:r>
            <a:r>
              <a:rPr lang="de-DE" sz="1000" dirty="0" smtClean="0">
                <a:solidFill>
                  <a:srgbClr val="0000FF"/>
                </a:solidFill>
                <a:latin typeface="Consolas"/>
              </a:rPr>
              <a:t> </a:t>
            </a:r>
            <a:r>
              <a:rPr lang="de-DE" sz="1000" dirty="0" err="1"/>
              <a:t>sql</a:t>
            </a:r>
            <a:r>
              <a:rPr lang="de-DE" sz="1000" dirty="0"/>
              <a:t> = …;</a:t>
            </a:r>
          </a:p>
          <a:p>
            <a:endParaRPr lang="de-DE" sz="1000" dirty="0"/>
          </a:p>
          <a:p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//</a:t>
            </a:r>
            <a:r>
              <a:rPr lang="de-DE" sz="1000" dirty="0" err="1">
                <a:solidFill>
                  <a:srgbClr val="008000"/>
                </a:solidFill>
                <a:latin typeface="Consolas"/>
              </a:rPr>
              <a:t>Sql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8000"/>
                </a:solidFill>
                <a:latin typeface="Consolas"/>
              </a:rPr>
              <a:t>Result</a:t>
            </a:r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var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resultOracl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= _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connection.Connection.Query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&lt;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ReminderModel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&gt;(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sql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);</a:t>
            </a:r>
          </a:p>
          <a:p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//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Nächsten 5 Termine aus Outlook</a:t>
            </a:r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var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outlookAppointments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GetExchangeAppointments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);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</a:t>
            </a:r>
          </a:p>
          <a:p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//</a:t>
            </a:r>
            <a:r>
              <a:rPr lang="de-DE" sz="1000" dirty="0" err="1">
                <a:solidFill>
                  <a:srgbClr val="008000"/>
                </a:solidFill>
                <a:latin typeface="Consolas"/>
              </a:rPr>
              <a:t>Konkateniert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 das </a:t>
            </a:r>
            <a:r>
              <a:rPr lang="de-DE" sz="1000" dirty="0" err="1">
                <a:solidFill>
                  <a:srgbClr val="008000"/>
                </a:solidFill>
                <a:latin typeface="Consolas"/>
              </a:rPr>
              <a:t>Sql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8000"/>
                </a:solidFill>
                <a:latin typeface="Consolas"/>
              </a:rPr>
              <a:t>Result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 mit den Terminen aus </a:t>
            </a:r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Outlook</a:t>
            </a:r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var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result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resultOracle.Concat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outlookAppointments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);</a:t>
            </a:r>
          </a:p>
          <a:p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return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result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;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…</a:t>
            </a: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4057841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1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11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11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11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000"/>
                                        <p:tgtEl>
                                          <p:spTgt spid="1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1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1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1000"/>
                                        <p:tgtEl>
                                          <p:spTgt spid="11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11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11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Zusammenfassen der Daten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sp>
        <p:nvSpPr>
          <p:cNvPr id="8" name="Textfeld 7"/>
          <p:cNvSpPr txBox="1"/>
          <p:nvPr/>
        </p:nvSpPr>
        <p:spPr>
          <a:xfrm>
            <a:off x="251520" y="1268760"/>
            <a:ext cx="6480720" cy="7200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de-DE" b="1" dirty="0">
                <a:solidFill>
                  <a:schemeClr val="tx2"/>
                </a:solidFill>
              </a:rPr>
              <a:t>Was passiert im Frontend / UI ?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742950" lvl="1" indent="-285750">
              <a:buFont typeface="Arial" pitchFamily="34" charset="0"/>
              <a:buChar char="•"/>
            </a:pPr>
            <a:r>
              <a:rPr lang="de-DE" dirty="0" smtClean="0"/>
              <a:t>Gruppieren der Daten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13" name="Rechteck 12"/>
          <p:cNvSpPr/>
          <p:nvPr/>
        </p:nvSpPr>
        <p:spPr>
          <a:xfrm>
            <a:off x="251520" y="2019304"/>
            <a:ext cx="6480720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     //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Fragt die die Reminder Arten ab, die der User innerhalb des Zeitraums </a:t>
            </a:r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besitzt</a:t>
            </a:r>
          </a:p>
          <a:p>
            <a:r>
              <a:rPr lang="de-DE" sz="1000" dirty="0" smtClean="0">
                <a:solidFill>
                  <a:srgbClr val="0000FF"/>
                </a:solidFill>
                <a:latin typeface="Consolas"/>
              </a:rPr>
              <a:t>     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.reminderService.getReminderTypes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.startDateString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.endDateString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)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    .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subscribe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((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data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) =&gt; {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      </a:t>
            </a:r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// 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Die Reminder Art repräsentiert den ‘Parent’ des </a:t>
            </a:r>
            <a:r>
              <a:rPr lang="de-DE" sz="1000" dirty="0" err="1">
                <a:solidFill>
                  <a:srgbClr val="008000"/>
                </a:solidFill>
                <a:latin typeface="Consolas"/>
              </a:rPr>
              <a:t>Reminders</a:t>
            </a:r>
            <a:endParaRPr lang="de-DE" sz="1000" dirty="0">
              <a:solidFill>
                <a:srgbClr val="008000"/>
              </a:solidFill>
              <a:latin typeface="Consolas"/>
            </a:endParaRP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      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.latestReminder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=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data.map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item =&gt;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{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        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let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data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= &lt;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PanelBarItemModel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&gt;{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          title: 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item.title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,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          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id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item.id.toString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),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  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children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[]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};</a:t>
            </a:r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	//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Nun kommen die eigentlichen Reminder der jeweiligen Art als ‘Childs’ </a:t>
            </a:r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hinzu</a:t>
            </a:r>
            <a:endParaRPr lang="de-DE" sz="1000" dirty="0">
              <a:solidFill>
                <a:srgbClr val="008000"/>
              </a:solidFill>
              <a:latin typeface="Consolas"/>
            </a:endParaRPr>
          </a:p>
          <a:p>
            <a:r>
              <a:rPr lang="de-DE" sz="1000" dirty="0" smtClean="0">
                <a:solidFill>
                  <a:srgbClr val="0000FF"/>
                </a:solidFill>
                <a:latin typeface="Consolas"/>
              </a:rPr>
              <a:t>	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.queryChildItems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(item.id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.startDateString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.endDateString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)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          .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subscribe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child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=&gt; {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           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data.children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child.map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child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&gt; {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     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return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&lt;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IReminder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&gt;{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       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id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child.id,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       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artId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child.artId.toString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),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       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…</a:t>
            </a:r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      };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    });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    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});</a:t>
            </a:r>
          </a:p>
          <a:p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       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return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data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;</a:t>
            </a:r>
          </a:p>
          <a:p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…</a:t>
            </a:r>
          </a:p>
        </p:txBody>
      </p:sp>
      <p:pic>
        <p:nvPicPr>
          <p:cNvPr id="3075" name="Picture 3" descr="U:\Abschlussprojekt v2\Präsentation\img\NestedJson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6831" y="3937883"/>
            <a:ext cx="3096344" cy="2736816"/>
          </a:xfrm>
          <a:prstGeom prst="rect">
            <a:avLst/>
          </a:prstGeom>
          <a:noFill/>
          <a:ln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3887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1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1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1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1000"/>
                                        <p:tgtEl>
                                          <p:spTgt spid="1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1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1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1000"/>
                                        <p:tgtEl>
                                          <p:spTgt spid="1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1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1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1000"/>
                                        <p:tgtEl>
                                          <p:spTgt spid="1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1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1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1000"/>
                                        <p:tgtEl>
                                          <p:spTgt spid="1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7" dur="1000" fill="hold"/>
                                        <p:tgtEl>
                                          <p:spTgt spid="1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1000" fill="hold"/>
                                        <p:tgtEl>
                                          <p:spTgt spid="1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1000"/>
                                        <p:tgtEl>
                                          <p:spTgt spid="1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2" dur="1000" fill="hold"/>
                                        <p:tgtEl>
                                          <p:spTgt spid="1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1000" fill="hold"/>
                                        <p:tgtEl>
                                          <p:spTgt spid="1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1000"/>
                                        <p:tgtEl>
                                          <p:spTgt spid="1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7" dur="1000" fill="hold"/>
                                        <p:tgtEl>
                                          <p:spTgt spid="1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1000" fill="hold"/>
                                        <p:tgtEl>
                                          <p:spTgt spid="1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1000"/>
                                        <p:tgtEl>
                                          <p:spTgt spid="1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2" dur="1000" fill="hold"/>
                                        <p:tgtEl>
                                          <p:spTgt spid="1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1000" fill="hold"/>
                                        <p:tgtEl>
                                          <p:spTgt spid="1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1000"/>
                                        <p:tgtEl>
                                          <p:spTgt spid="13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7" dur="1000" fill="hold"/>
                                        <p:tgtEl>
                                          <p:spTgt spid="13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1000" fill="hold"/>
                                        <p:tgtEl>
                                          <p:spTgt spid="13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1000"/>
                                        <p:tgtEl>
                                          <p:spTgt spid="13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2" dur="1000" fill="hold"/>
                                        <p:tgtEl>
                                          <p:spTgt spid="13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1000" fill="hold"/>
                                        <p:tgtEl>
                                          <p:spTgt spid="13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1000"/>
                                        <p:tgtEl>
                                          <p:spTgt spid="13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7" dur="1000" fill="hold"/>
                                        <p:tgtEl>
                                          <p:spTgt spid="13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8" dur="1000" fill="hold"/>
                                        <p:tgtEl>
                                          <p:spTgt spid="13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1000"/>
                                        <p:tgtEl>
                                          <p:spTgt spid="13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2" dur="1000" fill="hold"/>
                                        <p:tgtEl>
                                          <p:spTgt spid="13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3" dur="1000" fill="hold"/>
                                        <p:tgtEl>
                                          <p:spTgt spid="13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4" fill="hold">
                      <p:stCondLst>
                        <p:cond delay="indefinite"/>
                      </p:stCondLst>
                      <p:childTnLst>
                        <p:par>
                          <p:cTn id="125" fill="hold">
                            <p:stCondLst>
                              <p:cond delay="0"/>
                            </p:stCondLst>
                            <p:childTnLst>
                              <p:par>
                                <p:cTn id="1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1000"/>
                                        <p:tgtEl>
                                          <p:spTgt spid="13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9" dur="1000" fill="hold"/>
                                        <p:tgtEl>
                                          <p:spTgt spid="13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0" dur="1000" fill="hold"/>
                                        <p:tgtEl>
                                          <p:spTgt spid="13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3" end="2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1000"/>
                                        <p:tgtEl>
                                          <p:spTgt spid="13">
                                            <p:txEl>
                                              <p:pRg st="23" end="2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4" dur="1000" fill="hold"/>
                                        <p:tgtEl>
                                          <p:spTgt spid="13">
                                            <p:txEl>
                                              <p:pRg st="23" end="2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5" dur="1000" fill="hold"/>
                                        <p:tgtEl>
                                          <p:spTgt spid="13">
                                            <p:txEl>
                                              <p:pRg st="23" end="2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8" dur="1000"/>
                                        <p:tgtEl>
                                          <p:spTgt spid="307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9" dur="1000" fill="hold"/>
                                        <p:tgtEl>
                                          <p:spTgt spid="30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0" dur="1000" fill="hold"/>
                                        <p:tgtEl>
                                          <p:spTgt spid="30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Zusammenfassen der Daten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9" name="Picture 16" descr="U:\Abschlussprojekt v2\Präsentation\img\Trichter_VerschiedeneDatenquellen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160" y="4221088"/>
            <a:ext cx="3683256" cy="2167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/>
          <p:cNvSpPr txBox="1"/>
          <p:nvPr/>
        </p:nvSpPr>
        <p:spPr>
          <a:xfrm>
            <a:off x="35496" y="1268760"/>
            <a:ext cx="6840760" cy="48245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lvl="1" indent="-285750">
              <a:buFont typeface="Arial" pitchFamily="34" charset="0"/>
              <a:buChar char="•"/>
            </a:pPr>
            <a:r>
              <a:rPr lang="de-DE" b="1" dirty="0">
                <a:solidFill>
                  <a:schemeClr val="tx2"/>
                </a:solidFill>
              </a:rPr>
              <a:t>Was passiert im Frontend / UI ?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742950" lvl="1" indent="-285750">
              <a:buFont typeface="Arial" pitchFamily="34" charset="0"/>
              <a:buChar char="•"/>
            </a:pPr>
            <a:r>
              <a:rPr lang="de-DE" dirty="0"/>
              <a:t>Abrufen des </a:t>
            </a:r>
            <a:r>
              <a:rPr lang="de-DE" dirty="0" smtClean="0"/>
              <a:t>Webservices (http Anfrage)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de-DE" dirty="0" smtClean="0"/>
          </a:p>
          <a:p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      //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Fragt die Reminder Arten, die der User innerhalb eines Zeitraums besitzt, ab</a:t>
            </a:r>
          </a:p>
          <a:p>
            <a:r>
              <a:rPr lang="de-DE" sz="1000" dirty="0" smtClean="0">
                <a:solidFill>
                  <a:srgbClr val="0000FF"/>
                </a:solidFill>
                <a:latin typeface="Consolas"/>
              </a:rPr>
              <a:t>     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public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 smtClean="0">
                <a:solidFill>
                  <a:srgbClr val="2B91AF"/>
                </a:solidFill>
                <a:latin typeface="Consolas"/>
              </a:rPr>
              <a:t>getReminderTypes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(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startDat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string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endDat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string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): </a:t>
            </a:r>
            <a:r>
              <a:rPr lang="de-DE" sz="1000" dirty="0">
                <a:solidFill>
                  <a:srgbClr val="2B91AF"/>
                </a:solidFill>
                <a:latin typeface="Consolas"/>
              </a:rPr>
              <a:t>Observabl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&lt;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IReminderArten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[]&gt;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{</a:t>
            </a:r>
          </a:p>
          <a:p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const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query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.backendUrl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"</a:t>
            </a:r>
            <a:r>
              <a:rPr lang="de-DE" sz="1000" dirty="0" err="1" smtClean="0">
                <a:solidFill>
                  <a:srgbClr val="A31515"/>
                </a:solidFill>
                <a:latin typeface="Consolas"/>
              </a:rPr>
              <a:t>api</a:t>
            </a:r>
            <a:r>
              <a:rPr lang="de-DE" sz="1000" dirty="0" smtClean="0">
                <a:solidFill>
                  <a:srgbClr val="A31515"/>
                </a:solidFill>
                <a:latin typeface="Consolas"/>
              </a:rPr>
              <a:t>/v1.0/</a:t>
            </a:r>
            <a:r>
              <a:rPr lang="de-DE" sz="1000" dirty="0" err="1" smtClean="0">
                <a:solidFill>
                  <a:srgbClr val="A31515"/>
                </a:solidFill>
                <a:latin typeface="Consolas"/>
              </a:rPr>
              <a:t>reminder</a:t>
            </a:r>
            <a:r>
              <a:rPr lang="de-DE" sz="1000" dirty="0" smtClean="0">
                <a:solidFill>
                  <a:srgbClr val="A31515"/>
                </a:solidFill>
                <a:latin typeface="Consolas"/>
              </a:rPr>
              <a:t>/</a:t>
            </a:r>
            <a:r>
              <a:rPr lang="de-DE" sz="1000" dirty="0" err="1" smtClean="0">
                <a:solidFill>
                  <a:srgbClr val="A31515"/>
                </a:solidFill>
                <a:latin typeface="Consolas"/>
              </a:rPr>
              <a:t>GetReminderTypes?startDateString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="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</a:t>
            </a:r>
            <a:endParaRPr lang="de-DE" sz="1000" dirty="0" smtClean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	+ 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startDate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+ 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"&amp;</a:t>
            </a:r>
            <a:r>
              <a:rPr lang="de-DE" sz="1000" dirty="0" err="1">
                <a:solidFill>
                  <a:srgbClr val="A31515"/>
                </a:solidFill>
                <a:latin typeface="Consolas"/>
              </a:rPr>
              <a:t>endDateString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="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endDat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"&amp;</a:t>
            </a:r>
            <a:r>
              <a:rPr lang="de-DE" sz="1000" dirty="0" err="1">
                <a:solidFill>
                  <a:srgbClr val="A31515"/>
                </a:solidFill>
                <a:latin typeface="Consolas"/>
              </a:rPr>
              <a:t>mitarbeiterId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="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.userId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;</a:t>
            </a:r>
          </a:p>
          <a:p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 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return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.http.</a:t>
            </a:r>
            <a:r>
              <a:rPr lang="de-DE" sz="1000" dirty="0" err="1">
                <a:solidFill>
                  <a:srgbClr val="2B91AF"/>
                </a:solidFill>
                <a:latin typeface="Consolas"/>
              </a:rPr>
              <a:t>get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&lt;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IReminderArten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[]&gt;(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query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);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 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}</a:t>
            </a:r>
            <a:endParaRPr lang="de-DE" sz="1000" dirty="0" smtClean="0">
              <a:solidFill>
                <a:srgbClr val="0000FF"/>
              </a:solidFill>
              <a:latin typeface="Consolas"/>
            </a:endParaRPr>
          </a:p>
          <a:p>
            <a:endParaRPr lang="de-DE" sz="1000" dirty="0" smtClean="0">
              <a:solidFill>
                <a:srgbClr val="0000FF"/>
              </a:solidFill>
              <a:latin typeface="Consolas"/>
            </a:endParaRPr>
          </a:p>
          <a:p>
            <a:r>
              <a:rPr lang="de-DE" sz="1000" dirty="0" smtClean="0">
                <a:solidFill>
                  <a:srgbClr val="008000"/>
                </a:solidFill>
                <a:latin typeface="Consolas"/>
              </a:rPr>
              <a:t>      //</a:t>
            </a:r>
            <a:r>
              <a:rPr lang="de-DE" sz="1000" dirty="0">
                <a:solidFill>
                  <a:srgbClr val="008000"/>
                </a:solidFill>
                <a:latin typeface="Consolas"/>
              </a:rPr>
              <a:t>Fragt die Reminder innerhalb eines Zeitraum und anhand einer bestimmten Art ab</a:t>
            </a:r>
          </a:p>
          <a:p>
            <a:r>
              <a:rPr lang="de-DE" sz="1000" dirty="0">
                <a:solidFill>
                  <a:srgbClr val="0000FF"/>
                </a:solidFill>
                <a:latin typeface="Consolas"/>
              </a:rPr>
              <a:t> </a:t>
            </a:r>
            <a:r>
              <a:rPr lang="de-DE" sz="1000" dirty="0" smtClean="0">
                <a:solidFill>
                  <a:srgbClr val="0000FF"/>
                </a:solidFill>
                <a:latin typeface="Consolas"/>
              </a:rPr>
              <a:t>     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public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2B91AF"/>
                </a:solidFill>
                <a:latin typeface="Consolas"/>
              </a:rPr>
              <a:t>getLatestReminder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(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artId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number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,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startDat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000" dirty="0" err="1" smtClean="0">
                <a:solidFill>
                  <a:srgbClr val="0000FF"/>
                </a:solidFill>
                <a:latin typeface="Consolas"/>
              </a:rPr>
              <a:t>string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, </a:t>
            </a:r>
          </a:p>
          <a:p>
            <a:r>
              <a:rPr lang="de-DE" sz="1000" dirty="0">
                <a:solidFill>
                  <a:srgbClr val="000000"/>
                </a:solidFill>
                <a:latin typeface="Consolas"/>
              </a:rPr>
              <a:t>	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          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endDat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: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string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):</a:t>
            </a:r>
            <a:r>
              <a:rPr lang="de-DE" sz="1000" dirty="0" smtClean="0">
                <a:solidFill>
                  <a:srgbClr val="2B91AF"/>
                </a:solidFill>
                <a:latin typeface="Consolas"/>
              </a:rPr>
              <a:t>Observable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&lt;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IReminder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[]&gt;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{</a:t>
            </a:r>
          </a:p>
          <a:p>
            <a:pPr lvl="1"/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de-DE" sz="1000" dirty="0">
                <a:solidFill>
                  <a:srgbClr val="000000"/>
                </a:solidFill>
                <a:latin typeface="Consolas"/>
              </a:rPr>
              <a:t>   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const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query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=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.backendUrl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 smtClean="0">
                <a:solidFill>
                  <a:srgbClr val="A31515"/>
                </a:solidFill>
                <a:latin typeface="Consolas"/>
              </a:rPr>
              <a:t>"</a:t>
            </a:r>
            <a:r>
              <a:rPr lang="de-DE" sz="1000" dirty="0" err="1">
                <a:solidFill>
                  <a:srgbClr val="A31515"/>
                </a:solidFill>
                <a:latin typeface="Consolas"/>
              </a:rPr>
              <a:t>api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/v1.0/</a:t>
            </a:r>
            <a:r>
              <a:rPr lang="de-DE" sz="1000" dirty="0" err="1">
                <a:solidFill>
                  <a:srgbClr val="A31515"/>
                </a:solidFill>
                <a:latin typeface="Consolas"/>
              </a:rPr>
              <a:t>reminder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/</a:t>
            </a:r>
            <a:r>
              <a:rPr lang="de-DE" sz="1000" dirty="0" err="1">
                <a:solidFill>
                  <a:srgbClr val="A31515"/>
                </a:solidFill>
                <a:latin typeface="Consolas"/>
              </a:rPr>
              <a:t>GetLatestReminder?artId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="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artId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	</a:t>
            </a:r>
            <a:r>
              <a:rPr lang="de-DE" sz="1000" dirty="0" smtClean="0">
                <a:solidFill>
                  <a:srgbClr val="A31515"/>
                </a:solidFill>
                <a:latin typeface="Consolas"/>
              </a:rPr>
              <a:t>"&amp;</a:t>
            </a:r>
            <a:r>
              <a:rPr lang="de-DE" sz="1000" dirty="0" err="1">
                <a:solidFill>
                  <a:srgbClr val="A31515"/>
                </a:solidFill>
                <a:latin typeface="Consolas"/>
              </a:rPr>
              <a:t>startDateString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="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startDate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"&amp;</a:t>
            </a:r>
            <a:r>
              <a:rPr lang="de-DE" sz="1000" dirty="0" err="1">
                <a:solidFill>
                  <a:srgbClr val="A31515"/>
                </a:solidFill>
                <a:latin typeface="Consolas"/>
              </a:rPr>
              <a:t>endDateString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="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	 	</a:t>
            </a:r>
            <a:r>
              <a:rPr lang="de-DE" sz="1000" dirty="0" err="1" smtClean="0">
                <a:solidFill>
                  <a:srgbClr val="000000"/>
                </a:solidFill>
                <a:latin typeface="Consolas"/>
              </a:rPr>
              <a:t>endDate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+ 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"&amp;</a:t>
            </a:r>
            <a:r>
              <a:rPr lang="de-DE" sz="1000" dirty="0" err="1">
                <a:solidFill>
                  <a:srgbClr val="A31515"/>
                </a:solidFill>
                <a:latin typeface="Consolas"/>
              </a:rPr>
              <a:t>mitarbeiterId</a:t>
            </a:r>
            <a:r>
              <a:rPr lang="de-DE" sz="1000" dirty="0">
                <a:solidFill>
                  <a:srgbClr val="A31515"/>
                </a:solidFill>
                <a:latin typeface="Consolas"/>
              </a:rPr>
              <a:t>="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+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.userId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;</a:t>
            </a:r>
          </a:p>
          <a:p>
            <a:pPr lvl="1"/>
            <a:endParaRPr lang="de-DE" sz="1000" dirty="0">
              <a:solidFill>
                <a:srgbClr val="000000"/>
              </a:solidFill>
              <a:latin typeface="Consolas"/>
            </a:endParaRPr>
          </a:p>
          <a:p>
            <a:pPr lvl="1"/>
            <a:r>
              <a:rPr lang="de-DE" sz="1000" dirty="0">
                <a:solidFill>
                  <a:srgbClr val="000000"/>
                </a:solidFill>
                <a:latin typeface="Consolas"/>
              </a:rPr>
              <a:t>   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return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 </a:t>
            </a:r>
            <a:r>
              <a:rPr lang="de-DE" sz="1000" dirty="0" err="1">
                <a:solidFill>
                  <a:srgbClr val="0000FF"/>
                </a:solidFill>
                <a:latin typeface="Consolas"/>
              </a:rPr>
              <a:t>this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.http.</a:t>
            </a:r>
            <a:r>
              <a:rPr lang="de-DE" sz="1000" dirty="0" err="1">
                <a:solidFill>
                  <a:srgbClr val="2B91AF"/>
                </a:solidFill>
                <a:latin typeface="Consolas"/>
              </a:rPr>
              <a:t>get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&lt;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IReminder</a:t>
            </a:r>
            <a:r>
              <a:rPr lang="de-DE" sz="1000" dirty="0">
                <a:solidFill>
                  <a:srgbClr val="000000"/>
                </a:solidFill>
                <a:latin typeface="Consolas"/>
              </a:rPr>
              <a:t>[]&gt;(</a:t>
            </a:r>
            <a:r>
              <a:rPr lang="de-DE" sz="1000" dirty="0" err="1">
                <a:solidFill>
                  <a:srgbClr val="000000"/>
                </a:solidFill>
                <a:latin typeface="Consolas"/>
              </a:rPr>
              <a:t>query</a:t>
            </a:r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);</a:t>
            </a:r>
          </a:p>
          <a:p>
            <a:pPr lvl="1"/>
            <a:r>
              <a:rPr lang="de-DE" sz="1000" dirty="0" smtClean="0">
                <a:solidFill>
                  <a:srgbClr val="000000"/>
                </a:solidFill>
                <a:latin typeface="Consolas"/>
              </a:rPr>
              <a:t>}</a:t>
            </a:r>
            <a:endParaRPr lang="de-DE" sz="1000" dirty="0" smtClean="0"/>
          </a:p>
          <a:p>
            <a:pPr marL="742950" lvl="1" indent="-285750">
              <a:buFont typeface="Arial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75183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8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8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8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1000"/>
                                        <p:tgtEl>
                                          <p:spTgt spid="8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8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8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1000"/>
                                        <p:tgtEl>
                                          <p:spTgt spid="8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8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8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1000"/>
                                        <p:tgtEl>
                                          <p:spTgt spid="8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0" dur="1000" fill="hold"/>
                                        <p:tgtEl>
                                          <p:spTgt spid="8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8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creenshots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3377" y="3573016"/>
            <a:ext cx="2126357" cy="27157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7" name="Gruppieren 26"/>
          <p:cNvGrpSpPr/>
          <p:nvPr/>
        </p:nvGrpSpPr>
        <p:grpSpPr>
          <a:xfrm>
            <a:off x="4427984" y="4149080"/>
            <a:ext cx="4242131" cy="1666676"/>
            <a:chOff x="4427984" y="4149080"/>
            <a:chExt cx="4242131" cy="1666676"/>
          </a:xfrm>
        </p:grpSpPr>
        <p:pic>
          <p:nvPicPr>
            <p:cNvPr id="4100" name="Picture 4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12160" y="4581128"/>
              <a:ext cx="2657955" cy="123462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4" name="Gekrümmte Verbindung 3"/>
            <p:cNvCxnSpPr>
              <a:endCxn id="4100" idx="1"/>
            </p:cNvCxnSpPr>
            <p:nvPr/>
          </p:nvCxnSpPr>
          <p:spPr>
            <a:xfrm>
              <a:off x="4427984" y="4149080"/>
              <a:ext cx="1584176" cy="1049362"/>
            </a:xfrm>
            <a:prstGeom prst="curvedConnector3">
              <a:avLst>
                <a:gd name="adj1" fmla="val 34810"/>
              </a:avLst>
            </a:prstGeom>
            <a:ln>
              <a:solidFill>
                <a:schemeClr val="accent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101" name="Picture 5" descr="U:\Abschlussprojekt v2\Dokumentation\BenutzerDoku\ReminderToday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268760"/>
            <a:ext cx="2405706" cy="1831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uppieren 14"/>
          <p:cNvGrpSpPr/>
          <p:nvPr/>
        </p:nvGrpSpPr>
        <p:grpSpPr>
          <a:xfrm>
            <a:off x="655725" y="4581576"/>
            <a:ext cx="2181523" cy="488676"/>
            <a:chOff x="1022325" y="4092900"/>
            <a:chExt cx="2181523" cy="488676"/>
          </a:xfrm>
        </p:grpSpPr>
        <p:sp>
          <p:nvSpPr>
            <p:cNvPr id="12" name="Textfeld 11"/>
            <p:cNvSpPr txBox="1"/>
            <p:nvPr/>
          </p:nvSpPr>
          <p:spPr>
            <a:xfrm>
              <a:off x="1022325" y="4092900"/>
              <a:ext cx="1008112" cy="48867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dirty="0" smtClean="0"/>
                <a:t>Wird bereits bearbeitet</a:t>
              </a:r>
              <a:endParaRPr lang="de-DE" i="1" dirty="0" smtClean="0"/>
            </a:p>
          </p:txBody>
        </p:sp>
        <p:cxnSp>
          <p:nvCxnSpPr>
            <p:cNvPr id="14" name="Gerade Verbindung mit Pfeil 13"/>
            <p:cNvCxnSpPr>
              <a:stCxn id="12" idx="3"/>
            </p:cNvCxnSpPr>
            <p:nvPr/>
          </p:nvCxnSpPr>
          <p:spPr>
            <a:xfrm>
              <a:off x="2030437" y="4337238"/>
              <a:ext cx="1173411" cy="0"/>
            </a:xfrm>
            <a:prstGeom prst="straightConnector1">
              <a:avLst/>
            </a:prstGeom>
            <a:ln>
              <a:solidFill>
                <a:schemeClr val="accent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Inhaltsplatzhalter 3"/>
          <p:cNvSpPr>
            <a:spLocks noGrp="1"/>
          </p:cNvSpPr>
          <p:nvPr>
            <p:ph sz="quarter" idx="13"/>
          </p:nvPr>
        </p:nvSpPr>
        <p:spPr>
          <a:xfrm>
            <a:off x="7092950" y="1268413"/>
            <a:ext cx="1800225" cy="5040312"/>
          </a:xfrm>
        </p:spPr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grpSp>
        <p:nvGrpSpPr>
          <p:cNvPr id="28" name="Gruppieren 27"/>
          <p:cNvGrpSpPr/>
          <p:nvPr/>
        </p:nvGrpSpPr>
        <p:grpSpPr>
          <a:xfrm>
            <a:off x="3203848" y="1033756"/>
            <a:ext cx="3561662" cy="3043316"/>
            <a:chOff x="3203848" y="1033756"/>
            <a:chExt cx="3561662" cy="3043316"/>
          </a:xfrm>
        </p:grpSpPr>
        <p:pic>
          <p:nvPicPr>
            <p:cNvPr id="4102" name="Picture 6" descr="U:\Abschlussprojekt v2\Dokumentation\BenutzerDoku\ReminderGrid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03848" y="1033756"/>
              <a:ext cx="3561662" cy="22512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5" name="Gekrümmte Verbindung 24"/>
            <p:cNvCxnSpPr/>
            <p:nvPr/>
          </p:nvCxnSpPr>
          <p:spPr>
            <a:xfrm rot="5400000" flipH="1" flipV="1">
              <a:off x="4499992" y="3429000"/>
              <a:ext cx="792088" cy="504056"/>
            </a:xfrm>
            <a:prstGeom prst="curvedConnector3">
              <a:avLst>
                <a:gd name="adj1" fmla="val 2261"/>
              </a:avLst>
            </a:prstGeom>
            <a:ln>
              <a:solidFill>
                <a:schemeClr val="accent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57428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2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2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10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1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409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40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40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rweiterbarkeit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10242" name="Picture 2" descr="Bildergebnis für präsentation männche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9648" y="4149080"/>
            <a:ext cx="1512168" cy="23427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feld 4"/>
          <p:cNvSpPr txBox="1"/>
          <p:nvPr/>
        </p:nvSpPr>
        <p:spPr>
          <a:xfrm>
            <a:off x="323528" y="1268760"/>
            <a:ext cx="6336704" cy="52231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b="1" dirty="0">
                <a:solidFill>
                  <a:schemeClr val="tx2"/>
                </a:solidFill>
              </a:rPr>
              <a:t>Beispiel: </a:t>
            </a:r>
            <a:endParaRPr lang="de-DE" b="1" dirty="0" smtClean="0">
              <a:solidFill>
                <a:schemeClr val="tx2"/>
              </a:solidFill>
            </a:endParaRPr>
          </a:p>
          <a:p>
            <a:endParaRPr lang="de-DE" b="1" dirty="0">
              <a:solidFill>
                <a:schemeClr val="tx2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Auftrag: Erweiterung der Reminder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Fall:  Weiteres System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742950" lvl="1" indent="-285750">
              <a:buFont typeface="Arial" pitchFamily="34" charset="0"/>
              <a:buChar char="•"/>
            </a:pPr>
            <a:r>
              <a:rPr lang="de-DE" dirty="0" smtClean="0"/>
              <a:t>Anpassungen im Webservice erforderlich: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de-DE" dirty="0"/>
          </a:p>
          <a:p>
            <a:pPr marL="800100" lvl="1" indent="-342900">
              <a:buFont typeface="+mj-lt"/>
              <a:buAutoNum type="arabicPeriod"/>
            </a:pPr>
            <a:r>
              <a:rPr lang="de-DE" dirty="0" smtClean="0"/>
              <a:t>Analyse der Datenherkunft</a:t>
            </a:r>
          </a:p>
          <a:p>
            <a:pPr marL="800100" lvl="1" indent="-342900">
              <a:buFont typeface="+mj-lt"/>
              <a:buAutoNum type="arabicPeriod"/>
            </a:pPr>
            <a:r>
              <a:rPr lang="de-DE" dirty="0"/>
              <a:t>Abfrage der Schnittstelle im </a:t>
            </a:r>
            <a:r>
              <a:rPr lang="de-DE" dirty="0" smtClean="0"/>
              <a:t>Repository des Webservice</a:t>
            </a:r>
            <a:endParaRPr lang="de-DE" dirty="0"/>
          </a:p>
          <a:p>
            <a:pPr marL="800100" lvl="1" indent="-342900">
              <a:buFont typeface="+mj-lt"/>
              <a:buAutoNum type="arabicPeriod"/>
            </a:pPr>
            <a:r>
              <a:rPr lang="de-DE" dirty="0" smtClean="0"/>
              <a:t>Matchen der Ergebnisse mit dem Reminder Schema</a:t>
            </a:r>
          </a:p>
          <a:p>
            <a:pPr marL="800100" lvl="1" indent="-342900">
              <a:buFont typeface="+mj-lt"/>
              <a:buAutoNum type="arabicPeriod"/>
            </a:pPr>
            <a:r>
              <a:rPr lang="de-DE" dirty="0" smtClean="0"/>
              <a:t>Erstellen einer </a:t>
            </a:r>
            <a:r>
              <a:rPr lang="de-DE" dirty="0" err="1" smtClean="0"/>
              <a:t>ParentId</a:t>
            </a:r>
            <a:r>
              <a:rPr lang="de-DE" dirty="0" smtClean="0"/>
              <a:t>/</a:t>
            </a:r>
            <a:r>
              <a:rPr lang="de-DE" dirty="0" err="1" smtClean="0"/>
              <a:t>ArtId</a:t>
            </a:r>
            <a:r>
              <a:rPr lang="de-DE" dirty="0" smtClean="0"/>
              <a:t> um die Gruppierung zu ermöglichen</a:t>
            </a:r>
          </a:p>
          <a:p>
            <a:pPr marL="800100" lvl="1" indent="-342900">
              <a:buFont typeface="+mj-lt"/>
              <a:buAutoNum type="arabicPeriod"/>
            </a:pPr>
            <a:r>
              <a:rPr lang="de-DE" dirty="0" smtClean="0"/>
              <a:t>Methode </a:t>
            </a:r>
            <a:r>
              <a:rPr lang="de-DE" dirty="0" err="1" smtClean="0"/>
              <a:t>GetLatestReminder</a:t>
            </a:r>
            <a:r>
              <a:rPr lang="de-DE" dirty="0" smtClean="0"/>
              <a:t>() im </a:t>
            </a:r>
            <a:r>
              <a:rPr lang="de-DE" dirty="0" err="1" smtClean="0"/>
              <a:t>ReminderController</a:t>
            </a:r>
            <a:r>
              <a:rPr lang="de-DE" dirty="0" smtClean="0"/>
              <a:t> anpassen</a:t>
            </a:r>
          </a:p>
          <a:p>
            <a:pPr lvl="1"/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Fall: Weitere Reminder Art in die Oracle Datenbank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742950" lvl="1" indent="-285750">
              <a:buFont typeface="Arial" pitchFamily="34" charset="0"/>
              <a:buChar char="•"/>
            </a:pPr>
            <a:r>
              <a:rPr lang="de-DE" dirty="0" smtClean="0"/>
              <a:t>Anpassung in der Datenbank erforderlich: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de-DE" dirty="0" smtClean="0"/>
          </a:p>
          <a:p>
            <a:pPr marL="800100" lvl="1" indent="-342900">
              <a:buFont typeface="+mj-lt"/>
              <a:buAutoNum type="arabicPeriod"/>
            </a:pPr>
            <a:r>
              <a:rPr lang="de-DE" dirty="0" smtClean="0"/>
              <a:t>Hinzufügen der Art </a:t>
            </a:r>
            <a:r>
              <a:rPr lang="de-DE" dirty="0" err="1" smtClean="0"/>
              <a:t>Id</a:t>
            </a:r>
            <a:r>
              <a:rPr lang="de-DE" dirty="0" smtClean="0"/>
              <a:t> zum Select in der PL/SQL Funktion 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de-DE" dirty="0" err="1"/>
          </a:p>
          <a:p>
            <a:pPr marL="742950" lvl="1" indent="-285750">
              <a:buFont typeface="Arial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58403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1000"/>
                                        <p:tgtEl>
                                          <p:spTgt spid="5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5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5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zit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12292" name="Picture 4" descr="Bildergebnis für präsentation männchen fazit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4897" y="3972101"/>
            <a:ext cx="2520279" cy="25202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feld 4"/>
          <p:cNvSpPr txBox="1"/>
          <p:nvPr/>
        </p:nvSpPr>
        <p:spPr>
          <a:xfrm>
            <a:off x="251520" y="1268760"/>
            <a:ext cx="6480720" cy="50405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de-DE" b="1" dirty="0">
                <a:solidFill>
                  <a:schemeClr val="tx2"/>
                </a:solidFill>
              </a:rPr>
              <a:t>Alle Anforderung sind vollständig implementiert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b="1" dirty="0">
                <a:solidFill>
                  <a:schemeClr val="tx2"/>
                </a:solidFill>
              </a:rPr>
              <a:t>Wie wird es weitergehen?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742950" lvl="1" indent="-285750">
              <a:buFont typeface="Arial" pitchFamily="34" charset="0"/>
              <a:buChar char="•"/>
            </a:pPr>
            <a:r>
              <a:rPr lang="de-DE" dirty="0" smtClean="0"/>
              <a:t>Erweiterung: Echtzeitübertragung bei den ROM-</a:t>
            </a:r>
            <a:r>
              <a:rPr lang="de-DE" dirty="0" err="1" smtClean="0"/>
              <a:t>Remindern</a:t>
            </a:r>
            <a:endParaRPr lang="de-DE" dirty="0" smtClean="0"/>
          </a:p>
          <a:p>
            <a:pPr marL="742950" lvl="1" indent="-285750">
              <a:buFont typeface="Arial" pitchFamily="34" charset="0"/>
              <a:buChar char="•"/>
            </a:pPr>
            <a:r>
              <a:rPr lang="de-DE" dirty="0" smtClean="0"/>
              <a:t>Kundenreaktion analysieren</a:t>
            </a:r>
            <a:endParaRPr lang="de-DE" dirty="0"/>
          </a:p>
          <a:p>
            <a:pPr marL="742950" lvl="1" indent="-285750">
              <a:buFont typeface="Arial" pitchFamily="34" charset="0"/>
              <a:buChar char="•"/>
            </a:pPr>
            <a:endParaRPr lang="de-DE" dirty="0"/>
          </a:p>
          <a:p>
            <a:pPr marL="285750" lvl="1" indent="-285750">
              <a:buFont typeface="Arial" pitchFamily="34" charset="0"/>
              <a:buChar char="•"/>
            </a:pPr>
            <a:r>
              <a:rPr lang="de-DE" b="1" dirty="0">
                <a:solidFill>
                  <a:schemeClr val="tx2"/>
                </a:solidFill>
              </a:rPr>
              <a:t>Mein </a:t>
            </a:r>
            <a:r>
              <a:rPr lang="de-DE" b="1" dirty="0" smtClean="0">
                <a:solidFill>
                  <a:schemeClr val="tx2"/>
                </a:solidFill>
              </a:rPr>
              <a:t>persönlicher </a:t>
            </a:r>
            <a:r>
              <a:rPr lang="de-DE" b="1" dirty="0">
                <a:solidFill>
                  <a:schemeClr val="tx2"/>
                </a:solidFill>
              </a:rPr>
              <a:t>Erfolg</a:t>
            </a:r>
          </a:p>
          <a:p>
            <a:pPr marL="742950" lvl="2" indent="-285750">
              <a:buFont typeface="Arial" pitchFamily="34" charset="0"/>
              <a:buChar char="•"/>
            </a:pPr>
            <a:endParaRPr lang="de-DE" dirty="0"/>
          </a:p>
          <a:p>
            <a:pPr marL="742950" lvl="2" indent="-285750">
              <a:buFont typeface="Arial" pitchFamily="34" charset="0"/>
              <a:buChar char="•"/>
            </a:pPr>
            <a:r>
              <a:rPr lang="de-DE" dirty="0" smtClean="0"/>
              <a:t>Neues Wissen aufgebaut in folgenden Bereichen:</a:t>
            </a:r>
          </a:p>
          <a:p>
            <a:pPr marL="742950" lvl="2" indent="-285750">
              <a:buFont typeface="Arial" pitchFamily="34" charset="0"/>
              <a:buChar char="•"/>
            </a:pPr>
            <a:endParaRPr lang="de-DE" dirty="0" smtClean="0"/>
          </a:p>
          <a:p>
            <a:pPr marL="1200150" lvl="3" indent="-285750">
              <a:buFont typeface="Arial" pitchFamily="34" charset="0"/>
              <a:buChar char="•"/>
            </a:pPr>
            <a:r>
              <a:rPr lang="de-DE" dirty="0" smtClean="0">
                <a:solidFill>
                  <a:schemeClr val="accent1"/>
                </a:solidFill>
              </a:rPr>
              <a:t>Angular</a:t>
            </a:r>
          </a:p>
          <a:p>
            <a:pPr marL="1200150" lvl="3" indent="-285750">
              <a:buFont typeface="Arial" pitchFamily="34" charset="0"/>
              <a:buChar char="•"/>
            </a:pPr>
            <a:r>
              <a:rPr lang="de-DE" dirty="0" err="1" smtClean="0">
                <a:solidFill>
                  <a:schemeClr val="accent1"/>
                </a:solidFill>
              </a:rPr>
              <a:t>Typescript</a:t>
            </a:r>
            <a:endParaRPr lang="de-DE" dirty="0" smtClean="0">
              <a:solidFill>
                <a:schemeClr val="accent1"/>
              </a:solidFill>
            </a:endParaRPr>
          </a:p>
          <a:p>
            <a:pPr marL="1200150" lvl="3" indent="-285750">
              <a:buFont typeface="Arial" pitchFamily="34" charset="0"/>
              <a:buChar char="•"/>
            </a:pPr>
            <a:r>
              <a:rPr lang="de-DE" dirty="0" smtClean="0">
                <a:solidFill>
                  <a:schemeClr val="accent1"/>
                </a:solidFill>
              </a:rPr>
              <a:t>.Net Core (C#)</a:t>
            </a:r>
          </a:p>
          <a:p>
            <a:pPr marL="1200150" lvl="3" indent="-285750">
              <a:buFont typeface="Arial" pitchFamily="34" charset="0"/>
              <a:buChar char="•"/>
            </a:pPr>
            <a:r>
              <a:rPr lang="de-DE" dirty="0" smtClean="0">
                <a:solidFill>
                  <a:schemeClr val="accent1"/>
                </a:solidFill>
              </a:rPr>
              <a:t>Web Services</a:t>
            </a:r>
          </a:p>
          <a:p>
            <a:pPr marL="1200150" lvl="3" indent="-285750">
              <a:buFont typeface="Arial" pitchFamily="34" charset="0"/>
              <a:buChar char="•"/>
            </a:pPr>
            <a:r>
              <a:rPr lang="de-DE" dirty="0" err="1" smtClean="0">
                <a:solidFill>
                  <a:schemeClr val="accent1"/>
                </a:solidFill>
              </a:rPr>
              <a:t>Git</a:t>
            </a:r>
            <a:endParaRPr lang="de-DE" dirty="0" smtClean="0">
              <a:solidFill>
                <a:schemeClr val="accent1"/>
              </a:solidFill>
            </a:endParaRPr>
          </a:p>
          <a:p>
            <a:pPr marL="1200150" lvl="3" indent="-285750">
              <a:buFont typeface="Arial" pitchFamily="34" charset="0"/>
              <a:buChar char="•"/>
            </a:pPr>
            <a:endParaRPr lang="de-DE" dirty="0" smtClean="0"/>
          </a:p>
          <a:p>
            <a:pPr marL="742950" lvl="2" indent="-285750">
              <a:buFont typeface="Arial" pitchFamily="34" charset="0"/>
              <a:buChar char="•"/>
            </a:pPr>
            <a:r>
              <a:rPr lang="de-DE" dirty="0" smtClean="0"/>
              <a:t>Aktives mitwirken in dem neuen Intranet Webportal</a:t>
            </a: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endParaRPr lang="de-DE" dirty="0" err="1" smtClean="0"/>
          </a:p>
        </p:txBody>
      </p:sp>
    </p:spTree>
    <p:extLst>
      <p:ext uri="{BB962C8B-B14F-4D97-AF65-F5344CB8AC3E}">
        <p14:creationId xmlns:p14="http://schemas.microsoft.com/office/powerpoint/2010/main" val="2004761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42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42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8" presetID="42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5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5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5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algn="ctr"/>
            <a:r>
              <a:rPr lang="de-DE" sz="40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Vielen Dank </a:t>
            </a:r>
            <a:endParaRPr lang="de-DE" sz="4000" dirty="0" smtClean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  <a:p>
            <a:pPr algn="ctr"/>
            <a:r>
              <a:rPr lang="de-DE" sz="40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f</a:t>
            </a:r>
            <a:r>
              <a:rPr lang="de-DE" sz="40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ür </a:t>
            </a:r>
            <a:r>
              <a:rPr lang="de-DE" sz="40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hre </a:t>
            </a:r>
            <a:r>
              <a:rPr lang="de-DE" sz="40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Aufmerksamkeit!</a:t>
            </a:r>
            <a:endParaRPr lang="de-DE" sz="4000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11266" name="Picture 2" descr="U:\Abschlussprojekt v2\Präsentation\img\Ende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4751917"/>
            <a:ext cx="1656184" cy="1830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83235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750" tmFilter="0, 0; .2, .5; .8, .5; 1, 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375" autoRev="1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r Ausbildungsbetrieb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2.01.2018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 smtClean="0"/>
              <a:t>Reminder App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9</a:t>
            </a:fld>
            <a:endParaRPr lang="de-DE" noProof="0" dirty="0"/>
          </a:p>
        </p:txBody>
      </p:sp>
      <p:sp>
        <p:nvSpPr>
          <p:cNvPr id="11" name="Inhaltsplatzhalter 5"/>
          <p:cNvSpPr txBox="1">
            <a:spLocks/>
          </p:cNvSpPr>
          <p:nvPr/>
        </p:nvSpPr>
        <p:spPr>
          <a:xfrm>
            <a:off x="7020272" y="1340768"/>
            <a:ext cx="1944216" cy="496855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Projektziel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Projektbegründ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Architektur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  <p:pic>
        <p:nvPicPr>
          <p:cNvPr id="12" name="Picture 11" descr="U:\Projektarbeit\Präsentation\img\vorstellung_BankGebaeude.jpeg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" y="1340768"/>
            <a:ext cx="6731801" cy="48428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2682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genda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323528" y="1052736"/>
            <a:ext cx="6408712" cy="5040312"/>
          </a:xfrm>
        </p:spPr>
        <p:txBody>
          <a:bodyPr/>
          <a:lstStyle/>
          <a:p>
            <a:pPr marL="285750" indent="-285750">
              <a:buFont typeface="Arial" pitchFamily="34" charset="0"/>
              <a:buChar char="•"/>
            </a:pPr>
            <a:r>
              <a:rPr lang="de-DE" b="1" dirty="0" smtClean="0">
                <a:solidFill>
                  <a:schemeClr val="tx2"/>
                </a:solidFill>
              </a:rPr>
              <a:t>Einleitung</a:t>
            </a:r>
          </a:p>
          <a:p>
            <a:pPr marL="465750" lvl="1" indent="-285750"/>
            <a:r>
              <a:rPr lang="de-DE" dirty="0" smtClean="0"/>
              <a:t>Projektbeschreibung</a:t>
            </a:r>
          </a:p>
          <a:p>
            <a:pPr marL="465750" lvl="1" indent="-285750"/>
            <a:r>
              <a:rPr lang="de-DE" dirty="0" smtClean="0"/>
              <a:t>Projektbegründung</a:t>
            </a:r>
          </a:p>
          <a:p>
            <a:pPr marL="465750" lvl="1" indent="-285750"/>
            <a:r>
              <a:rPr lang="de-DE" dirty="0" smtClean="0"/>
              <a:t>Projektziel</a:t>
            </a:r>
          </a:p>
          <a:p>
            <a:pPr marL="285750" lvl="1" indent="-285750"/>
            <a:r>
              <a:rPr lang="de-DE" b="1" dirty="0" smtClean="0">
                <a:solidFill>
                  <a:schemeClr val="tx2"/>
                </a:solidFill>
              </a:rPr>
              <a:t>Analyse</a:t>
            </a:r>
          </a:p>
          <a:p>
            <a:pPr marL="465750" lvl="2" indent="-285750"/>
            <a:r>
              <a:rPr lang="de-DE" dirty="0" smtClean="0"/>
              <a:t>Projektkosten</a:t>
            </a:r>
            <a:endParaRPr lang="de-DE" b="1" dirty="0" smtClean="0">
              <a:solidFill>
                <a:schemeClr val="tx2"/>
              </a:solidFill>
            </a:endParaRPr>
          </a:p>
          <a:p>
            <a:pPr marL="465750" lvl="1" indent="-285750"/>
            <a:r>
              <a:rPr lang="de-DE" dirty="0"/>
              <a:t>Kosten </a:t>
            </a:r>
            <a:r>
              <a:rPr lang="de-DE" dirty="0" smtClean="0"/>
              <a:t>IST-Beispiel</a:t>
            </a:r>
          </a:p>
          <a:p>
            <a:pPr marL="465750" lvl="1" indent="-285750"/>
            <a:r>
              <a:rPr lang="de-DE" dirty="0" smtClean="0"/>
              <a:t>Kosten </a:t>
            </a:r>
            <a:r>
              <a:rPr lang="de-DE" dirty="0"/>
              <a:t>SOLL-Beispiel</a:t>
            </a:r>
          </a:p>
          <a:p>
            <a:pPr marL="465750" lvl="1" indent="-285750"/>
            <a:r>
              <a:rPr lang="de-DE" dirty="0" smtClean="0"/>
              <a:t>Amortisation</a:t>
            </a: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b="1" dirty="0" smtClean="0">
                <a:solidFill>
                  <a:schemeClr val="tx2"/>
                </a:solidFill>
              </a:rPr>
              <a:t>Entwurf</a:t>
            </a:r>
          </a:p>
          <a:p>
            <a:pPr marL="465750" lvl="1" indent="-285750"/>
            <a:r>
              <a:rPr lang="de-DE" dirty="0" smtClean="0"/>
              <a:t>Datenzugriff </a:t>
            </a: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b="1" dirty="0" smtClean="0">
                <a:solidFill>
                  <a:schemeClr val="tx2"/>
                </a:solidFill>
              </a:rPr>
              <a:t>Implementierung</a:t>
            </a:r>
          </a:p>
          <a:p>
            <a:pPr marL="465750" lvl="1" indent="-285750"/>
            <a:r>
              <a:rPr lang="de-DE" dirty="0"/>
              <a:t>Zusammenfassen der </a:t>
            </a:r>
            <a:r>
              <a:rPr lang="de-DE" dirty="0" smtClean="0"/>
              <a:t>Daten (Code)</a:t>
            </a:r>
          </a:p>
          <a:p>
            <a:pPr marL="465750" lvl="1" indent="-285750"/>
            <a:r>
              <a:rPr lang="de-DE" dirty="0" smtClean="0"/>
              <a:t>Screenshots</a:t>
            </a:r>
            <a:endParaRPr lang="de-DE" dirty="0"/>
          </a:p>
          <a:p>
            <a:pPr marL="465750" lvl="1" indent="-285750"/>
            <a:r>
              <a:rPr lang="de-DE" dirty="0" smtClean="0"/>
              <a:t>Erweiterbarkeit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de-DE" b="1" dirty="0" smtClean="0">
                <a:solidFill>
                  <a:schemeClr val="tx2"/>
                </a:solidFill>
              </a:rPr>
              <a:t>Fazit</a:t>
            </a:r>
            <a:endParaRPr lang="de-DE" b="1" dirty="0">
              <a:solidFill>
                <a:schemeClr val="tx2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de-DE" b="1" dirty="0">
                <a:solidFill>
                  <a:schemeClr val="tx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4114" name="Picture 18" descr="U:\Abschlussprojekt v2\Präsentation\img\3dmans\info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4" y="4365104"/>
            <a:ext cx="2016224" cy="2016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6946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75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75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75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53" presetClass="entr" presetSubtype="16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750" fill="hold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750" fill="hold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75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8" dur="750" fill="hold"/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750" fill="hold"/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0" dur="750"/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1000" fill="hold"/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5" dur="1000"/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53" presetClass="entr" presetSubtype="1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1000" fill="hold"/>
                                        <p:tgtEl>
                                          <p:spTgt spid="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0" dur="1000"/>
                                        <p:tgtEl>
                                          <p:spTgt spid="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4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1000" fill="hold"/>
                                        <p:tgtEl>
                                          <p:spTgt spid="4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5" dur="1000"/>
                                        <p:tgtEl>
                                          <p:spTgt spid="4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0" dur="750" fill="hold"/>
                                        <p:tgtEl>
                                          <p:spTgt spid="4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750" fill="hold"/>
                                        <p:tgtEl>
                                          <p:spTgt spid="4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2" dur="750"/>
                                        <p:tgtEl>
                                          <p:spTgt spid="4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7" dur="750" fill="hold"/>
                                        <p:tgtEl>
                                          <p:spTgt spid="4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750" fill="hold"/>
                                        <p:tgtEl>
                                          <p:spTgt spid="4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9" dur="750"/>
                                        <p:tgtEl>
                                          <p:spTgt spid="4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0276024"/>
              </p:ext>
            </p:extLst>
          </p:nvPr>
        </p:nvGraphicFramePr>
        <p:xfrm>
          <a:off x="1921" y="2044"/>
          <a:ext cx="1919" cy="204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21" y="2044"/>
                        <a:ext cx="1919" cy="204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ir – der interne IT Dienstleister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12821" indent="-212821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Interner IT Dienstleister seit mehr als 15 Jahren</a:t>
            </a:r>
          </a:p>
          <a:p>
            <a:pPr marL="212821" indent="-212821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212821" indent="-212821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Der überwiegende Teil  der Applikationen ist selbst entwickelt</a:t>
            </a:r>
          </a:p>
          <a:p>
            <a:pPr marL="212821" indent="-212821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212821" indent="-212821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Über 250 Mitarbeiter im Bereich IT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2.01.2018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Reminder App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20</a:t>
            </a:fld>
            <a:endParaRPr lang="de-DE" noProof="0" dirty="0"/>
          </a:p>
        </p:txBody>
      </p:sp>
      <p:pic>
        <p:nvPicPr>
          <p:cNvPr id="9220" name="Picture 4" descr="U:\Projektarbeit\Präsentation\img\vorstellung_Laptop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685" y="2872483"/>
            <a:ext cx="5323805" cy="34638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Inhaltsplatzhalter 5"/>
          <p:cNvSpPr txBox="1">
            <a:spLocks/>
          </p:cNvSpPr>
          <p:nvPr/>
        </p:nvSpPr>
        <p:spPr>
          <a:xfrm>
            <a:off x="7020272" y="1334745"/>
            <a:ext cx="1944216" cy="496855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1800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Projektziel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Projektbegründ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Architektur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de</a:t>
            </a:r>
            <a:endParaRPr lang="de-DE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0086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5" dur="2000" fill="hold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beschreibung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  <a:endParaRPr lang="de-DE" dirty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5124" name="Picture 4" descr="Bildergebnis für präsentation männchen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7687" y="4725144"/>
            <a:ext cx="2816313" cy="1584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Gruppieren 11"/>
          <p:cNvGrpSpPr/>
          <p:nvPr/>
        </p:nvGrpSpPr>
        <p:grpSpPr>
          <a:xfrm>
            <a:off x="-1023112" y="2738600"/>
            <a:ext cx="6253922" cy="4099776"/>
            <a:chOff x="-1023112" y="2738600"/>
            <a:chExt cx="6253922" cy="4099776"/>
          </a:xfrm>
        </p:grpSpPr>
        <p:pic>
          <p:nvPicPr>
            <p:cNvPr id="3087" name="Picture 15" descr="U:\Abschlussprojekt v2\Präsentation\img\Projektbeschreibung_neuesIntranet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023112" y="2738600"/>
              <a:ext cx="6192688" cy="40997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7" name="Rechteck 26"/>
            <p:cNvSpPr/>
            <p:nvPr/>
          </p:nvSpPr>
          <p:spPr bwMode="gray">
            <a:xfrm>
              <a:off x="3059832" y="4509120"/>
              <a:ext cx="720080" cy="432048"/>
            </a:xfrm>
            <a:prstGeom prst="rect">
              <a:avLst/>
            </a:prstGeom>
            <a:no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ysClr val="windowText" lastClr="000000"/>
                </a:solidFill>
              </a:endParaRPr>
            </a:p>
          </p:txBody>
        </p:sp>
        <p:cxnSp>
          <p:nvCxnSpPr>
            <p:cNvPr id="3089" name="Gekrümmte Verbindung 3088"/>
            <p:cNvCxnSpPr>
              <a:stCxn id="4098" idx="1"/>
              <a:endCxn id="27" idx="3"/>
            </p:cNvCxnSpPr>
            <p:nvPr/>
          </p:nvCxnSpPr>
          <p:spPr>
            <a:xfrm rot="10800000" flipV="1">
              <a:off x="3779913" y="3469146"/>
              <a:ext cx="1450897" cy="1255998"/>
            </a:xfrm>
            <a:prstGeom prst="curvedConnector3">
              <a:avLst>
                <a:gd name="adj1" fmla="val 50000"/>
              </a:avLst>
            </a:prstGeom>
            <a:ln w="12700">
              <a:solidFill>
                <a:schemeClr val="accent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90" name="Textfeld 3089"/>
          <p:cNvSpPr txBox="1"/>
          <p:nvPr/>
        </p:nvSpPr>
        <p:spPr>
          <a:xfrm>
            <a:off x="194392" y="1088204"/>
            <a:ext cx="4032448" cy="16503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de-DE" dirty="0"/>
              <a:t>Was sind „</a:t>
            </a:r>
            <a:r>
              <a:rPr lang="de-DE" dirty="0" err="1"/>
              <a:t>Reminder</a:t>
            </a:r>
            <a:r>
              <a:rPr lang="de-DE" dirty="0"/>
              <a:t>“ ?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Anzeige von </a:t>
            </a:r>
            <a:r>
              <a:rPr lang="de-DE" dirty="0" err="1" smtClean="0"/>
              <a:t>Remindern</a:t>
            </a:r>
            <a:r>
              <a:rPr lang="de-DE" dirty="0" smtClean="0"/>
              <a:t> aus verschiedenen Datenquellen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Eine modulare Web App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In das Intranet Webportal implementiert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Auf den Anwender abgestimmt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de-DE" dirty="0"/>
              <a:t>Teilprojekt des gesamten Webprotal-Projekts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</p:txBody>
      </p:sp>
      <p:grpSp>
        <p:nvGrpSpPr>
          <p:cNvPr id="11" name="Gruppieren 10"/>
          <p:cNvGrpSpPr/>
          <p:nvPr/>
        </p:nvGrpSpPr>
        <p:grpSpPr>
          <a:xfrm>
            <a:off x="4962459" y="2605676"/>
            <a:ext cx="1365227" cy="1615411"/>
            <a:chOff x="5004048" y="2492896"/>
            <a:chExt cx="1872208" cy="2295592"/>
          </a:xfrm>
        </p:grpSpPr>
        <p:pic>
          <p:nvPicPr>
            <p:cNvPr id="4098" name="Picture 2" descr="U:\Abschlussprojekt v2\Präsentation\img\icon_webapp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72050" y="2907136"/>
              <a:ext cx="1408853" cy="16256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Abgerundetes Rechteck 7"/>
            <p:cNvSpPr/>
            <p:nvPr/>
          </p:nvSpPr>
          <p:spPr bwMode="gray">
            <a:xfrm>
              <a:off x="5004048" y="2492896"/>
              <a:ext cx="1872208" cy="2295592"/>
            </a:xfrm>
            <a:prstGeom prst="roundRect">
              <a:avLst/>
            </a:prstGeom>
            <a:noFill/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Textfeld 8"/>
            <p:cNvSpPr txBox="1"/>
            <p:nvPr/>
          </p:nvSpPr>
          <p:spPr>
            <a:xfrm>
              <a:off x="5215270" y="2564904"/>
              <a:ext cx="1372953" cy="4320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de-DE" dirty="0" smtClean="0"/>
                <a:t>Mein Projek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24558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0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0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0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309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309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09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09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09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09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6" presetClass="emph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animScale>
                                      <p:cBhvr>
                                        <p:cTn id="35" dur="2000" fill="hold"/>
                                        <p:tgtEl>
                                          <p:spTgt spid="11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09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309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09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309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309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309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309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309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309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begründung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  <a:endParaRPr lang="de-DE" dirty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3074" name="Picture 2" descr="Bildergebnis für präsentation männche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288" y="4581128"/>
            <a:ext cx="1584176" cy="1768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/>
          <p:cNvSpPr txBox="1"/>
          <p:nvPr/>
        </p:nvSpPr>
        <p:spPr>
          <a:xfrm>
            <a:off x="250477" y="1340768"/>
            <a:ext cx="6480720" cy="51125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b="1" dirty="0" smtClean="0">
                <a:solidFill>
                  <a:schemeClr val="tx2"/>
                </a:solidFill>
              </a:rPr>
              <a:t>So ist es Bisher:</a:t>
            </a:r>
          </a:p>
          <a:p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Schlechte bis keine Übersicht über alle Benachrichtigungen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Schlechte Performance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Gefahr, dass der Anwender die Benachrichtigung nicht erhält oder übersieht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Umständliche und teilweise keine Möglichkeiten zur Statuspflege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2841707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ziel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  <a:endParaRPr lang="de-DE" dirty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4098" name="Picture 2" descr="Bildergebnis für präsentation männche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2200" y="4149080"/>
            <a:ext cx="2524125" cy="228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/>
          <p:cNvSpPr txBox="1"/>
          <p:nvPr/>
        </p:nvSpPr>
        <p:spPr>
          <a:xfrm>
            <a:off x="251520" y="1340767"/>
            <a:ext cx="6480720" cy="32266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b="1" dirty="0" smtClean="0">
                <a:solidFill>
                  <a:schemeClr val="tx2"/>
                </a:solidFill>
              </a:rPr>
              <a:t>So soll es sein:</a:t>
            </a:r>
            <a:endParaRPr lang="de-DE" b="1" dirty="0">
              <a:solidFill>
                <a:schemeClr val="tx2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Eine übersichtliche</a:t>
            </a:r>
            <a:r>
              <a:rPr lang="de-DE" dirty="0"/>
              <a:t>, kompakte und zentralisierte Anzeige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Einheitliche Anzeige der Benachrichtigungen aus verschiedenen </a:t>
            </a:r>
            <a:r>
              <a:rPr lang="de-DE" dirty="0"/>
              <a:t>Systeme 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/>
              <a:t>Statuspflege ist möglich und kann einfach erweitert werden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/>
              <a:t>Sehr gute Performance</a:t>
            </a:r>
          </a:p>
        </p:txBody>
      </p:sp>
    </p:spTree>
    <p:extLst>
      <p:ext uri="{BB962C8B-B14F-4D97-AF65-F5344CB8AC3E}">
        <p14:creationId xmlns:p14="http://schemas.microsoft.com/office/powerpoint/2010/main" val="2066524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kosten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  <a:endParaRPr lang="de-DE" dirty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9220" name="Picture 4" descr="Bildergebnis für präsentation männchen koste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4423052"/>
            <a:ext cx="1800200" cy="1894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/>
          <p:cNvSpPr txBox="1"/>
          <p:nvPr/>
        </p:nvSpPr>
        <p:spPr>
          <a:xfrm>
            <a:off x="323528" y="1340768"/>
            <a:ext cx="6408712" cy="12241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Kosten Auszubildende:	15 €/Stunde </a:t>
            </a:r>
          </a:p>
          <a:p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Kosten Mitarbeiter:		76€ / Stunde</a:t>
            </a:r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Inklusive Lizenzkosten etc.</a:t>
            </a:r>
          </a:p>
        </p:txBody>
      </p:sp>
      <p:graphicFrame>
        <p:nvGraphicFramePr>
          <p:cNvPr id="9" name="Tabel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5914279"/>
              </p:ext>
            </p:extLst>
          </p:nvPr>
        </p:nvGraphicFramePr>
        <p:xfrm>
          <a:off x="579579" y="3717032"/>
          <a:ext cx="5896610" cy="1066800"/>
        </p:xfrm>
        <a:graphic>
          <a:graphicData uri="http://schemas.openxmlformats.org/drawingml/2006/table">
            <a:tbl>
              <a:tblPr firstRow="1" firstCol="1" bandRow="1">
                <a:tableStyleId>{7D95DDBC-5C31-40A9-B56D-BDF15E579DC0}</a:tableStyleId>
              </a:tblPr>
              <a:tblGrid>
                <a:gridCol w="19284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8049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223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652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dirty="0">
                          <a:effectLst/>
                        </a:rPr>
                        <a:t>Vorgang</a:t>
                      </a:r>
                      <a:endParaRPr lang="de-DE" sz="1100" dirty="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Mitarbeiter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Zeit (h)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Kosten (€)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ntwicklungskosten</a:t>
                      </a:r>
                      <a:endParaRPr lang="de-DE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dirty="0" smtClean="0">
                          <a:effectLst/>
                        </a:rPr>
                        <a:t>1x Auszubildender </a:t>
                      </a:r>
                    </a:p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dirty="0" smtClean="0">
                          <a:effectLst/>
                        </a:rPr>
                        <a:t> </a:t>
                      </a:r>
                      <a:endParaRPr lang="de-DE" sz="1100" dirty="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70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dirty="0">
                          <a:effectLst/>
                        </a:rPr>
                        <a:t>1050</a:t>
                      </a:r>
                      <a:endParaRPr lang="de-DE" sz="1100" dirty="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achlicher Test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1x Product Owner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4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304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bnahme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1x Product Owner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2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152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esamt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 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>
                          <a:effectLst/>
                        </a:rPr>
                        <a:t> </a:t>
                      </a:r>
                      <a:endParaRPr lang="de-DE" sz="110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e-DE" sz="1100" u="sng" dirty="0">
                          <a:effectLst/>
                        </a:rPr>
                        <a:t>1506</a:t>
                      </a:r>
                      <a:endParaRPr lang="de-DE" sz="1100" dirty="0">
                        <a:solidFill>
                          <a:srgbClr val="414F63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52056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osten IST-Beispiel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  <a:endParaRPr lang="de-DE" dirty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7170" name="Picture 2" descr="Bildergebnis für präsentation männche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0" y="4941168"/>
            <a:ext cx="2304260" cy="17281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U:\Abschlussprojekt v2\Präsentation\img\user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8043" y="1486838"/>
            <a:ext cx="1368152" cy="1368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uppieren 13"/>
          <p:cNvGrpSpPr/>
          <p:nvPr/>
        </p:nvGrpSpPr>
        <p:grpSpPr>
          <a:xfrm>
            <a:off x="1107843" y="3587880"/>
            <a:ext cx="863453" cy="991194"/>
            <a:chOff x="612203" y="3933056"/>
            <a:chExt cx="863453" cy="991194"/>
          </a:xfrm>
        </p:grpSpPr>
        <p:pic>
          <p:nvPicPr>
            <p:cNvPr id="7172" name="Picture 4" descr="U:\Abschlussprojekt v2\Präsentation\img\Exchange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2203" y="4149080"/>
              <a:ext cx="775170" cy="7751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Textfeld 12"/>
            <p:cNvSpPr txBox="1"/>
            <p:nvPr/>
          </p:nvSpPr>
          <p:spPr>
            <a:xfrm>
              <a:off x="628478" y="3933056"/>
              <a:ext cx="847178" cy="2160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dirty="0" smtClean="0"/>
                <a:t>Exchange</a:t>
              </a:r>
            </a:p>
          </p:txBody>
        </p:sp>
      </p:grpSp>
      <p:pic>
        <p:nvPicPr>
          <p:cNvPr id="7174" name="Picture 6" descr="http://servicebank/images/Rom/logo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0728" y="3627336"/>
            <a:ext cx="922784" cy="9227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" name="Gruppieren 15"/>
          <p:cNvGrpSpPr/>
          <p:nvPr/>
        </p:nvGrpSpPr>
        <p:grpSpPr>
          <a:xfrm>
            <a:off x="4420211" y="4211595"/>
            <a:ext cx="2384694" cy="1240389"/>
            <a:chOff x="4499992" y="3861048"/>
            <a:chExt cx="2384694" cy="1240389"/>
          </a:xfrm>
        </p:grpSpPr>
        <p:pic>
          <p:nvPicPr>
            <p:cNvPr id="7176" name="Picture 8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9992" y="4159384"/>
              <a:ext cx="2384694" cy="9420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5" name="Textfeld 14"/>
            <p:cNvSpPr txBox="1"/>
            <p:nvPr/>
          </p:nvSpPr>
          <p:spPr>
            <a:xfrm>
              <a:off x="4499992" y="3861048"/>
              <a:ext cx="2384694" cy="2160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dirty="0" smtClean="0"/>
                <a:t>Alte Intranet Seite </a:t>
              </a:r>
            </a:p>
          </p:txBody>
        </p:sp>
      </p:grpSp>
      <p:grpSp>
        <p:nvGrpSpPr>
          <p:cNvPr id="28" name="Gruppieren 27"/>
          <p:cNvGrpSpPr/>
          <p:nvPr/>
        </p:nvGrpSpPr>
        <p:grpSpPr>
          <a:xfrm>
            <a:off x="1115658" y="2226008"/>
            <a:ext cx="1792385" cy="1416966"/>
            <a:chOff x="1123431" y="1863914"/>
            <a:chExt cx="1792385" cy="1416966"/>
          </a:xfrm>
        </p:grpSpPr>
        <p:cxnSp>
          <p:nvCxnSpPr>
            <p:cNvPr id="18" name="Gekrümmte Verbindung 17"/>
            <p:cNvCxnSpPr>
              <a:stCxn id="8" idx="1"/>
              <a:endCxn id="13" idx="0"/>
            </p:cNvCxnSpPr>
            <p:nvPr/>
          </p:nvCxnSpPr>
          <p:spPr>
            <a:xfrm rot="10800000" flipV="1">
              <a:off x="1555480" y="1863914"/>
              <a:ext cx="1360336" cy="1416966"/>
            </a:xfrm>
            <a:prstGeom prst="curvedConnector2">
              <a:avLst/>
            </a:prstGeom>
            <a:ln w="12700">
              <a:solidFill>
                <a:schemeClr val="accent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feld 25"/>
            <p:cNvSpPr txBox="1"/>
            <p:nvPr/>
          </p:nvSpPr>
          <p:spPr>
            <a:xfrm>
              <a:off x="1123431" y="1988840"/>
              <a:ext cx="864096" cy="216024"/>
            </a:xfrm>
            <a:prstGeom prst="rect">
              <a:avLst/>
            </a:prstGeom>
            <a:noFill/>
            <a:ln w="12700">
              <a:solidFill>
                <a:schemeClr val="bg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0" tIns="0" rIns="0" bIns="0" rtlCol="0">
              <a:noAutofit/>
            </a:bodyPr>
            <a:lstStyle/>
            <a:p>
              <a:r>
                <a:rPr lang="de-DE" dirty="0" smtClean="0"/>
                <a:t>15 sec</a:t>
              </a:r>
            </a:p>
          </p:txBody>
        </p:sp>
      </p:grpSp>
      <p:grpSp>
        <p:nvGrpSpPr>
          <p:cNvPr id="3" name="Gruppieren 2"/>
          <p:cNvGrpSpPr/>
          <p:nvPr/>
        </p:nvGrpSpPr>
        <p:grpSpPr>
          <a:xfrm>
            <a:off x="2908043" y="2910084"/>
            <a:ext cx="684076" cy="772346"/>
            <a:chOff x="2915816" y="2547990"/>
            <a:chExt cx="684076" cy="772346"/>
          </a:xfrm>
        </p:grpSpPr>
        <p:cxnSp>
          <p:nvCxnSpPr>
            <p:cNvPr id="20" name="Gekrümmte Verbindung 19"/>
            <p:cNvCxnSpPr>
              <a:stCxn id="8" idx="2"/>
              <a:endCxn id="7174" idx="0"/>
            </p:cNvCxnSpPr>
            <p:nvPr/>
          </p:nvCxnSpPr>
          <p:spPr>
            <a:xfrm rot="16200000" flipH="1">
              <a:off x="3213719" y="2934162"/>
              <a:ext cx="772346" cy="1"/>
            </a:xfrm>
            <a:prstGeom prst="curvedConnector3">
              <a:avLst/>
            </a:prstGeom>
            <a:ln w="12700">
              <a:solidFill>
                <a:schemeClr val="accent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feld 28"/>
            <p:cNvSpPr txBox="1"/>
            <p:nvPr/>
          </p:nvSpPr>
          <p:spPr>
            <a:xfrm>
              <a:off x="2915816" y="2759600"/>
              <a:ext cx="576064" cy="228834"/>
            </a:xfrm>
            <a:prstGeom prst="rect">
              <a:avLst/>
            </a:prstGeom>
            <a:ln w="12700">
              <a:solidFill>
                <a:schemeClr val="bg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0" tIns="0" rIns="0" bIns="0" rtlCol="0">
              <a:noAutofit/>
            </a:bodyPr>
            <a:lstStyle/>
            <a:p>
              <a:r>
                <a:rPr lang="de-DE" dirty="0" smtClean="0"/>
                <a:t>55 sec</a:t>
              </a:r>
            </a:p>
          </p:txBody>
        </p:sp>
      </p:grpSp>
      <p:grpSp>
        <p:nvGrpSpPr>
          <p:cNvPr id="5" name="Gruppieren 4"/>
          <p:cNvGrpSpPr/>
          <p:nvPr/>
        </p:nvGrpSpPr>
        <p:grpSpPr>
          <a:xfrm>
            <a:off x="4276195" y="2226008"/>
            <a:ext cx="1800200" cy="2040681"/>
            <a:chOff x="4283968" y="1863914"/>
            <a:chExt cx="1800200" cy="2040681"/>
          </a:xfrm>
        </p:grpSpPr>
        <p:cxnSp>
          <p:nvCxnSpPr>
            <p:cNvPr id="22" name="Gekrümmte Verbindung 21"/>
            <p:cNvCxnSpPr>
              <a:stCxn id="8" idx="3"/>
              <a:endCxn id="15" idx="0"/>
            </p:cNvCxnSpPr>
            <p:nvPr/>
          </p:nvCxnSpPr>
          <p:spPr>
            <a:xfrm>
              <a:off x="4283968" y="1863914"/>
              <a:ext cx="1336363" cy="2040681"/>
            </a:xfrm>
            <a:prstGeom prst="curvedConnector2">
              <a:avLst/>
            </a:prstGeom>
            <a:ln w="12700">
              <a:solidFill>
                <a:schemeClr val="accent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extfeld 29"/>
            <p:cNvSpPr txBox="1"/>
            <p:nvPr/>
          </p:nvSpPr>
          <p:spPr>
            <a:xfrm>
              <a:off x="5508104" y="2433573"/>
              <a:ext cx="576064" cy="228834"/>
            </a:xfrm>
            <a:prstGeom prst="rect">
              <a:avLst/>
            </a:prstGeom>
            <a:ln w="12700">
              <a:solidFill>
                <a:schemeClr val="bg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0" tIns="0" rIns="0" bIns="0" rtlCol="0">
              <a:noAutofit/>
            </a:bodyPr>
            <a:lstStyle/>
            <a:p>
              <a:r>
                <a:rPr lang="de-DE" dirty="0" smtClean="0"/>
                <a:t>55 sec</a:t>
              </a:r>
            </a:p>
          </p:txBody>
        </p:sp>
      </p:grpSp>
      <p:graphicFrame>
        <p:nvGraphicFramePr>
          <p:cNvPr id="7168" name="Tabelle 716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9330175"/>
              </p:ext>
            </p:extLst>
          </p:nvPr>
        </p:nvGraphicFramePr>
        <p:xfrm>
          <a:off x="1259632" y="5733256"/>
          <a:ext cx="5059017" cy="843869"/>
        </p:xfrm>
        <a:graphic>
          <a:graphicData uri="http://schemas.openxmlformats.org/drawingml/2006/table">
            <a:tbl>
              <a:tblPr firstRow="1" bandRow="1">
                <a:tableStyleId>{7D95DDBC-5C31-40A9-B56D-BDF15E579DC0}</a:tableStyleId>
              </a:tblPr>
              <a:tblGrid>
                <a:gridCol w="14827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762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91856">
                <a:tc>
                  <a:txBody>
                    <a:bodyPr/>
                    <a:lstStyle/>
                    <a:p>
                      <a:r>
                        <a:rPr lang="de-DE" dirty="0" smtClean="0"/>
                        <a:t>Zeit (Pro Aufruf)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Kosten (Pro Tag) für alle 1500 Mitarbeiter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2013">
                <a:tc>
                  <a:txBody>
                    <a:bodyPr/>
                    <a:lstStyle/>
                    <a:p>
                      <a:r>
                        <a:rPr lang="de-DE" dirty="0" smtClean="0"/>
                        <a:t>1 min 25 sec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2.375€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42789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717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71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71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716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71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71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osten SOLL-Beispiel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  <a:endParaRPr lang="de-DE" dirty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8196" name="Picture 4" descr="Bildergebnis für präsentation männchen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1030" y="4437112"/>
            <a:ext cx="1933458" cy="18638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U:\Abschlussprojekt v2\Präsentation\img\user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816" y="1124744"/>
            <a:ext cx="1368152" cy="1368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Gruppieren 10"/>
          <p:cNvGrpSpPr/>
          <p:nvPr/>
        </p:nvGrpSpPr>
        <p:grpSpPr>
          <a:xfrm>
            <a:off x="3008684" y="3680523"/>
            <a:ext cx="1182415" cy="1322228"/>
            <a:chOff x="2957343" y="3680523"/>
            <a:chExt cx="1182415" cy="1322228"/>
          </a:xfrm>
        </p:grpSpPr>
        <p:pic>
          <p:nvPicPr>
            <p:cNvPr id="8195" name="Picture 3" descr="U:\Abschlussprojekt v2\Präsentation\img\if_reminder_322492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01553" y="4006074"/>
              <a:ext cx="996677" cy="9966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Textfeld 9"/>
            <p:cNvSpPr txBox="1"/>
            <p:nvPr/>
          </p:nvSpPr>
          <p:spPr>
            <a:xfrm>
              <a:off x="2957343" y="3680523"/>
              <a:ext cx="1182415" cy="21703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dirty="0" smtClean="0"/>
                <a:t>Reminder App</a:t>
              </a:r>
            </a:p>
          </p:txBody>
        </p:sp>
      </p:grpSp>
      <p:grpSp>
        <p:nvGrpSpPr>
          <p:cNvPr id="5" name="Gruppieren 4"/>
          <p:cNvGrpSpPr/>
          <p:nvPr/>
        </p:nvGrpSpPr>
        <p:grpSpPr>
          <a:xfrm>
            <a:off x="3599892" y="2492896"/>
            <a:ext cx="756084" cy="1187627"/>
            <a:chOff x="3599892" y="2492896"/>
            <a:chExt cx="756084" cy="1187627"/>
          </a:xfrm>
        </p:grpSpPr>
        <p:cxnSp>
          <p:nvCxnSpPr>
            <p:cNvPr id="15" name="Gerade Verbindung mit Pfeil 14"/>
            <p:cNvCxnSpPr>
              <a:stCxn id="9" idx="2"/>
              <a:endCxn id="10" idx="0"/>
            </p:cNvCxnSpPr>
            <p:nvPr/>
          </p:nvCxnSpPr>
          <p:spPr>
            <a:xfrm>
              <a:off x="3599892" y="2492896"/>
              <a:ext cx="0" cy="1187627"/>
            </a:xfrm>
            <a:prstGeom prst="straightConnector1">
              <a:avLst/>
            </a:prstGeom>
            <a:ln w="12700">
              <a:solidFill>
                <a:schemeClr val="accent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feld 15"/>
            <p:cNvSpPr txBox="1"/>
            <p:nvPr/>
          </p:nvSpPr>
          <p:spPr>
            <a:xfrm>
              <a:off x="3707904" y="2924944"/>
              <a:ext cx="648072" cy="216024"/>
            </a:xfrm>
            <a:prstGeom prst="rect">
              <a:avLst/>
            </a:prstGeom>
            <a:ln w="12700">
              <a:solidFill>
                <a:schemeClr val="bg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0" tIns="0" rIns="0" bIns="0" rtlCol="0">
              <a:noAutofit/>
            </a:bodyPr>
            <a:lstStyle/>
            <a:p>
              <a:r>
                <a:rPr lang="de-DE" dirty="0" smtClean="0"/>
                <a:t>25 sec</a:t>
              </a:r>
            </a:p>
          </p:txBody>
        </p:sp>
      </p:grpSp>
      <p:graphicFrame>
        <p:nvGraphicFramePr>
          <p:cNvPr id="20" name="Tabel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995505"/>
              </p:ext>
            </p:extLst>
          </p:nvPr>
        </p:nvGraphicFramePr>
        <p:xfrm>
          <a:off x="827584" y="5733256"/>
          <a:ext cx="5976664" cy="670745"/>
        </p:xfrm>
        <a:graphic>
          <a:graphicData uri="http://schemas.openxmlformats.org/drawingml/2006/table">
            <a:tbl>
              <a:tblPr firstRow="1" bandRow="1">
                <a:tableStyleId>{7D95DDBC-5C31-40A9-B56D-BDF15E579DC0}</a:tableStyleId>
              </a:tblPr>
              <a:tblGrid>
                <a:gridCol w="18074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692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65945">
                <a:tc>
                  <a:txBody>
                    <a:bodyPr/>
                    <a:lstStyle/>
                    <a:p>
                      <a:r>
                        <a:rPr lang="de-DE" dirty="0" smtClean="0"/>
                        <a:t>Zeit (Pro Aufruf)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Kosten (Pro Tag) für alle 1500 Mitarbeiter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900">
                <a:tc>
                  <a:txBody>
                    <a:bodyPr/>
                    <a:lstStyle/>
                    <a:p>
                      <a:r>
                        <a:rPr lang="de-DE" dirty="0" smtClean="0"/>
                        <a:t>25 sec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475€</a:t>
                      </a:r>
                      <a:r>
                        <a:rPr lang="de-DE" baseline="0" dirty="0" smtClean="0"/>
                        <a:t> + 1.506</a:t>
                      </a:r>
                      <a:r>
                        <a:rPr lang="de-DE" dirty="0" smtClean="0"/>
                        <a:t>€ </a:t>
                      </a:r>
                      <a:r>
                        <a:rPr lang="de-DE" smtClean="0"/>
                        <a:t>= 1.981 </a:t>
                      </a:r>
                      <a:r>
                        <a:rPr lang="de-DE" dirty="0" smtClean="0"/>
                        <a:t>€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52818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mortisation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40691" y="977443"/>
            <a:ext cx="6481763" cy="1011397"/>
          </a:xfrm>
        </p:spPr>
        <p:txBody>
          <a:bodyPr/>
          <a:lstStyle/>
          <a:p>
            <a:pPr marL="285750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Ersparnis pro Tag ab 1200 Mitarbeiter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Bei allen 1500 Mitarbeitern = 394€ Ersparnis pro Tag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inleit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accent2"/>
                </a:solidFill>
              </a:rPr>
              <a:t>Entwurf</a:t>
            </a:r>
            <a:endParaRPr lang="de-DE" dirty="0">
              <a:solidFill>
                <a:schemeClr val="accent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accent2"/>
                </a:solidFill>
              </a:rPr>
              <a:t>Ende</a:t>
            </a:r>
          </a:p>
          <a:p>
            <a:endParaRPr lang="de-DE" dirty="0"/>
          </a:p>
        </p:txBody>
      </p:sp>
      <p:pic>
        <p:nvPicPr>
          <p:cNvPr id="6148" name="Picture 4" descr="Bildergebnis für präsentation männch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3796" y="4149080"/>
            <a:ext cx="2808312" cy="2445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1" name="Diagramm 10" title="Kosten pro Tag"/>
          <p:cNvGraphicFramePr/>
          <p:nvPr>
            <p:extLst>
              <p:ext uri="{D42A27DB-BD31-4B8C-83A1-F6EECF244321}">
                <p14:modId xmlns:p14="http://schemas.microsoft.com/office/powerpoint/2010/main" val="3345860374"/>
              </p:ext>
            </p:extLst>
          </p:nvPr>
        </p:nvGraphicFramePr>
        <p:xfrm>
          <a:off x="221691" y="1914245"/>
          <a:ext cx="5930268" cy="4680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4052818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eGo_Vorlage_D">
  <a:themeElements>
    <a:clrScheme name="Berenberg Bank">
      <a:dk1>
        <a:sysClr val="windowText" lastClr="000000"/>
      </a:dk1>
      <a:lt1>
        <a:sysClr val="window" lastClr="FFFFFF"/>
      </a:lt1>
      <a:dk2>
        <a:srgbClr val="C6562C"/>
      </a:dk2>
      <a:lt2>
        <a:srgbClr val="893B1F"/>
      </a:lt2>
      <a:accent1>
        <a:srgbClr val="576A85"/>
      </a:accent1>
      <a:accent2>
        <a:srgbClr val="778AA7"/>
      </a:accent2>
      <a:accent3>
        <a:srgbClr val="A9B5C7"/>
      </a:accent3>
      <a:accent4>
        <a:srgbClr val="CCD3DE"/>
      </a:accent4>
      <a:accent5>
        <a:srgbClr val="75726F"/>
      </a:accent5>
      <a:accent6>
        <a:srgbClr val="9D9A97"/>
      </a:accent6>
      <a:hlink>
        <a:srgbClr val="75726F"/>
      </a:hlink>
      <a:folHlink>
        <a:srgbClr val="9D9A97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Grau 100%">
      <a:srgbClr val="75726F"/>
    </a:custClr>
    <a:custClr name="Dunkelorange">
      <a:srgbClr val="893B1F"/>
    </a:custClr>
    <a:custClr name="Blau 100%">
      <a:srgbClr val="576A85"/>
    </a:custClr>
    <a:custClr name="Gelb">
      <a:srgbClr val="F8C019"/>
    </a:custClr>
    <a:custClr name="Grün">
      <a:srgbClr val="569175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80%">
      <a:srgbClr val="9D9A97"/>
    </a:custClr>
    <a:custClr name="Orange 100%">
      <a:srgbClr val="C6562C"/>
    </a:custClr>
    <a:custClr name="Blau 80%">
      <a:srgbClr val="778AA7"/>
    </a:custClr>
    <a:custClr name="Beige">
      <a:srgbClr val="F0E6CD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60%">
      <a:srgbClr val="BAB7B4"/>
    </a:custClr>
    <a:custClr name="Orange 80%">
      <a:srgbClr val="DE8A6C"/>
    </a:custClr>
    <a:custClr name="Blau 60%">
      <a:srgbClr val="A9B5C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40%">
      <a:srgbClr val="DAD9D8"/>
    </a:custClr>
    <a:custClr name="Orange 60%">
      <a:srgbClr val="E7AA95"/>
    </a:custClr>
    <a:custClr name="Blau 40%">
      <a:srgbClr val="CCD3DE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20%">
      <a:srgbClr val="EDECEB"/>
    </a:custClr>
    <a:custClr name="Orange 40%">
      <a:srgbClr val="F2D2C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</a:theme>
</file>

<file path=ppt/theme/theme2.xml><?xml version="1.0" encoding="utf-8"?>
<a:theme xmlns:a="http://schemas.openxmlformats.org/drawingml/2006/main" name="Larissa">
  <a:themeElements>
    <a:clrScheme name="Berenberg Bank">
      <a:dk1>
        <a:sysClr val="windowText" lastClr="000000"/>
      </a:dk1>
      <a:lt1>
        <a:sysClr val="window" lastClr="FFFFFF"/>
      </a:lt1>
      <a:dk2>
        <a:srgbClr val="C6562C"/>
      </a:dk2>
      <a:lt2>
        <a:srgbClr val="893B1F"/>
      </a:lt2>
      <a:accent1>
        <a:srgbClr val="576A85"/>
      </a:accent1>
      <a:accent2>
        <a:srgbClr val="778AA7"/>
      </a:accent2>
      <a:accent3>
        <a:srgbClr val="A9B5C7"/>
      </a:accent3>
      <a:accent4>
        <a:srgbClr val="CCD3DE"/>
      </a:accent4>
      <a:accent5>
        <a:srgbClr val="75726F"/>
      </a:accent5>
      <a:accent6>
        <a:srgbClr val="9D9A97"/>
      </a:accent6>
      <a:hlink>
        <a:srgbClr val="75726F"/>
      </a:hlink>
      <a:folHlink>
        <a:srgbClr val="9D9A97"/>
      </a:folHlink>
    </a:clrScheme>
    <a:fontScheme name="Berenberg B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Larissa">
  <a:themeElements>
    <a:clrScheme name="Berenberg Bank">
      <a:dk1>
        <a:sysClr val="windowText" lastClr="000000"/>
      </a:dk1>
      <a:lt1>
        <a:sysClr val="window" lastClr="FFFFFF"/>
      </a:lt1>
      <a:dk2>
        <a:srgbClr val="C6562C"/>
      </a:dk2>
      <a:lt2>
        <a:srgbClr val="893B1F"/>
      </a:lt2>
      <a:accent1>
        <a:srgbClr val="576A85"/>
      </a:accent1>
      <a:accent2>
        <a:srgbClr val="778AA7"/>
      </a:accent2>
      <a:accent3>
        <a:srgbClr val="A9B5C7"/>
      </a:accent3>
      <a:accent4>
        <a:srgbClr val="CCD3DE"/>
      </a:accent4>
      <a:accent5>
        <a:srgbClr val="75726F"/>
      </a:accent5>
      <a:accent6>
        <a:srgbClr val="9D9A97"/>
      </a:accent6>
      <a:hlink>
        <a:srgbClr val="75726F"/>
      </a:hlink>
      <a:folHlink>
        <a:srgbClr val="9D9A97"/>
      </a:folHlink>
    </a:clrScheme>
    <a:fontScheme name="Berenberg B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eGo_Vorlage_D</Template>
  <TotalTime>0</TotalTime>
  <Words>940</Words>
  <Application>Microsoft Office PowerPoint</Application>
  <PresentationFormat>Bildschirmpräsentation (4:3)</PresentationFormat>
  <Paragraphs>396</Paragraphs>
  <Slides>20</Slides>
  <Notes>2</Notes>
  <HiddenSlides>5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25" baseType="lpstr">
      <vt:lpstr>Arial</vt:lpstr>
      <vt:lpstr>Consolas</vt:lpstr>
      <vt:lpstr>Times New Roman</vt:lpstr>
      <vt:lpstr>BeGo_Vorlage_D</vt:lpstr>
      <vt:lpstr>think-cell Folie</vt:lpstr>
      <vt:lpstr>Reminder App</vt:lpstr>
      <vt:lpstr>Agenda</vt:lpstr>
      <vt:lpstr>Projektbeschreibung</vt:lpstr>
      <vt:lpstr>Projektbegründung</vt:lpstr>
      <vt:lpstr>Projektziel</vt:lpstr>
      <vt:lpstr>Projektkosten</vt:lpstr>
      <vt:lpstr>Kosten IST-Beispiel</vt:lpstr>
      <vt:lpstr>Kosten SOLL-Beispiel</vt:lpstr>
      <vt:lpstr>Amortisation</vt:lpstr>
      <vt:lpstr>Datenzugriff</vt:lpstr>
      <vt:lpstr>Zusammenfassen der Daten</vt:lpstr>
      <vt:lpstr>Zusammenfassen der Daten</vt:lpstr>
      <vt:lpstr>Zusammenfassen der Daten</vt:lpstr>
      <vt:lpstr>Zusammenfassen der Daten</vt:lpstr>
      <vt:lpstr>Screenshots</vt:lpstr>
      <vt:lpstr>Erweiterbarkeit</vt:lpstr>
      <vt:lpstr>Fazit</vt:lpstr>
      <vt:lpstr>PowerPoint-Präsentation</vt:lpstr>
      <vt:lpstr>Der Ausbildungsbetrieb</vt:lpstr>
      <vt:lpstr>Wir – der interne IT Dienstleister</vt:lpstr>
    </vt:vector>
  </TitlesOfParts>
  <Company>Berenber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[Untertitel der Präsentation]</dc:subject>
  <dc:creator>Grieger, Niklas</dc:creator>
  <dc:description>Optimiert für MS PowerPoint 2010.</dc:description>
  <cp:lastModifiedBy>Nik las</cp:lastModifiedBy>
  <cp:revision>132</cp:revision>
  <cp:lastPrinted>2013-03-21T16:05:01Z</cp:lastPrinted>
  <dcterms:created xsi:type="dcterms:W3CDTF">2017-11-30T08:55:34Z</dcterms:created>
  <dcterms:modified xsi:type="dcterms:W3CDTF">2018-01-02T22:32:46Z</dcterms:modified>
</cp:coreProperties>
</file>